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75" r:id="rId4"/>
    <p:sldMasterId id="2147483688" r:id="rId5"/>
    <p:sldMasterId id="2147483739" r:id="rId6"/>
    <p:sldMasterId id="2147483752" r:id="rId7"/>
  </p:sldMasterIdLst>
  <p:notesMasterIdLst>
    <p:notesMasterId r:id="rId29"/>
  </p:notesMasterIdLst>
  <p:sldIdLst>
    <p:sldId id="256" r:id="rId8"/>
    <p:sldId id="286" r:id="rId9"/>
    <p:sldId id="288" r:id="rId10"/>
    <p:sldId id="3014" r:id="rId11"/>
    <p:sldId id="266" r:id="rId12"/>
    <p:sldId id="301" r:id="rId13"/>
    <p:sldId id="3007" r:id="rId14"/>
    <p:sldId id="3008" r:id="rId15"/>
    <p:sldId id="3015" r:id="rId16"/>
    <p:sldId id="3016" r:id="rId17"/>
    <p:sldId id="3017" r:id="rId18"/>
    <p:sldId id="3018" r:id="rId19"/>
    <p:sldId id="3019" r:id="rId20"/>
    <p:sldId id="3020" r:id="rId21"/>
    <p:sldId id="3021" r:id="rId22"/>
    <p:sldId id="3022" r:id="rId23"/>
    <p:sldId id="3009" r:id="rId24"/>
    <p:sldId id="3010" r:id="rId25"/>
    <p:sldId id="3011" r:id="rId26"/>
    <p:sldId id="3012" r:id="rId27"/>
    <p:sldId id="28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60" userDrawn="1">
          <p15:clr>
            <a:srgbClr val="A4A3A4"/>
          </p15:clr>
        </p15:guide>
        <p15:guide id="4" pos="7320" userDrawn="1">
          <p15:clr>
            <a:srgbClr val="A4A3A4"/>
          </p15:clr>
        </p15:guide>
        <p15:guide id="5" orient="horz" pos="888" userDrawn="1">
          <p15:clr>
            <a:srgbClr val="A4A3A4"/>
          </p15:clr>
        </p15:guide>
        <p15:guide id="6" orient="horz" pos="37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AA83"/>
    <a:srgbClr val="EB2199"/>
    <a:srgbClr val="EB5232"/>
    <a:srgbClr val="83E5C9"/>
    <a:srgbClr val="1D8164"/>
    <a:srgbClr val="9BE9D3"/>
    <a:srgbClr val="F1A79A"/>
    <a:srgbClr val="C73113"/>
    <a:srgbClr val="F4D9D7"/>
    <a:srgbClr val="1660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10" autoAdjust="0"/>
    <p:restoredTop sz="94269" autoAdjust="0"/>
  </p:normalViewPr>
  <p:slideViewPr>
    <p:cSldViewPr snapToGrid="0" showGuides="1">
      <p:cViewPr varScale="1">
        <p:scale>
          <a:sx n="81" d="100"/>
          <a:sy n="81" d="100"/>
        </p:scale>
        <p:origin x="372" y="84"/>
      </p:cViewPr>
      <p:guideLst>
        <p:guide orient="horz" pos="2160"/>
        <p:guide pos="3840"/>
        <p:guide pos="360"/>
        <p:guide pos="7320"/>
        <p:guide orient="horz" pos="888"/>
        <p:guide orient="horz" pos="37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2BAB5D-44B3-496C-8984-7B592E621AD8}" type="doc">
      <dgm:prSet loTypeId="urn:microsoft.com/office/officeart/2011/layout/TabList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en-ID"/>
        </a:p>
      </dgm:t>
    </dgm:pt>
    <dgm:pt modelId="{D0CC4DE9-279E-492E-9C25-10D4FACA39C5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Pasal</a:t>
          </a:r>
          <a:r>
            <a:rPr lang="en-US" dirty="0">
              <a:solidFill>
                <a:schemeClr val="tx1"/>
              </a:solidFill>
            </a:rPr>
            <a:t> 226</a:t>
          </a:r>
          <a:endParaRPr lang="en-ID" dirty="0">
            <a:solidFill>
              <a:schemeClr val="tx1"/>
            </a:solidFill>
          </a:endParaRPr>
        </a:p>
      </dgm:t>
    </dgm:pt>
    <dgm:pt modelId="{C3482CA4-B63E-444A-A21E-049647209E73}" type="parTrans" cxnId="{2CF806D8-157F-44F6-BEEB-1ADD7D35E70F}">
      <dgm:prSet/>
      <dgm:spPr/>
      <dgm:t>
        <a:bodyPr/>
        <a:lstStyle/>
        <a:p>
          <a:endParaRPr lang="en-ID"/>
        </a:p>
      </dgm:t>
    </dgm:pt>
    <dgm:pt modelId="{CBFFBA8D-E01C-49CB-961C-3F9E2F4EC522}" type="sibTrans" cxnId="{2CF806D8-157F-44F6-BEEB-1ADD7D35E70F}">
      <dgm:prSet/>
      <dgm:spPr/>
      <dgm:t>
        <a:bodyPr/>
        <a:lstStyle/>
        <a:p>
          <a:endParaRPr lang="en-ID"/>
        </a:p>
      </dgm:t>
    </dgm:pt>
    <dgm:pt modelId="{34E39D2B-E864-4F46-AC17-A1751EEEBE62}">
      <dgm:prSet phldrT="[Text]"/>
      <dgm:spPr/>
      <dgm:t>
        <a:bodyPr/>
        <a:lstStyle/>
        <a:p>
          <a:r>
            <a:rPr lang="en-US" dirty="0"/>
            <a:t>Ayat (1)</a:t>
          </a:r>
          <a:endParaRPr lang="en-ID" dirty="0"/>
        </a:p>
      </dgm:t>
    </dgm:pt>
    <dgm:pt modelId="{195DCB62-6EAE-4D30-9D94-DAA1594D8962}" type="parTrans" cxnId="{47732684-06C1-4609-AE91-32FD5183F905}">
      <dgm:prSet/>
      <dgm:spPr/>
      <dgm:t>
        <a:bodyPr/>
        <a:lstStyle/>
        <a:p>
          <a:endParaRPr lang="en-ID"/>
        </a:p>
      </dgm:t>
    </dgm:pt>
    <dgm:pt modelId="{16F69D35-1F94-4B38-B56D-05DD432486EE}" type="sibTrans" cxnId="{47732684-06C1-4609-AE91-32FD5183F905}">
      <dgm:prSet/>
      <dgm:spPr/>
      <dgm:t>
        <a:bodyPr/>
        <a:lstStyle/>
        <a:p>
          <a:endParaRPr lang="en-ID"/>
        </a:p>
      </dgm:t>
    </dgm:pt>
    <dgm:pt modelId="{C55B2E29-9858-4AE4-917F-83D23ACC9873}">
      <dgm:prSet phldrT="[Text]"/>
      <dgm:spPr/>
      <dgm:t>
        <a:bodyPr/>
        <a:lstStyle/>
        <a:p>
          <a:r>
            <a:rPr lang="en-US" dirty="0" err="1"/>
            <a:t>Camat</a:t>
          </a:r>
          <a:r>
            <a:rPr lang="en-US" dirty="0"/>
            <a:t> </a:t>
          </a:r>
          <a:r>
            <a:rPr lang="en-US" dirty="0" err="1"/>
            <a:t>mendapatkan</a:t>
          </a:r>
          <a:r>
            <a:rPr lang="en-US" dirty="0"/>
            <a:t> </a:t>
          </a:r>
          <a:r>
            <a:rPr lang="en-US" dirty="0" err="1"/>
            <a:t>pelimpahan</a:t>
          </a:r>
          <a:r>
            <a:rPr lang="en-US" dirty="0"/>
            <a:t> </a:t>
          </a:r>
          <a:r>
            <a:rPr lang="en-US" dirty="0" err="1"/>
            <a:t>sebagian</a:t>
          </a:r>
          <a:r>
            <a:rPr lang="en-US" dirty="0"/>
            <a:t> </a:t>
          </a:r>
          <a:r>
            <a:rPr lang="en-US" dirty="0" err="1"/>
            <a:t>kewenangan</a:t>
          </a:r>
          <a:r>
            <a:rPr lang="en-US" dirty="0"/>
            <a:t> </a:t>
          </a:r>
          <a:r>
            <a:rPr lang="en-US" dirty="0" err="1"/>
            <a:t>bupati</a:t>
          </a:r>
          <a:r>
            <a:rPr lang="en-US" dirty="0"/>
            <a:t>/</a:t>
          </a:r>
          <a:r>
            <a:rPr lang="en-US" dirty="0" err="1"/>
            <a:t>wali</a:t>
          </a:r>
          <a:r>
            <a:rPr lang="en-US" dirty="0"/>
            <a:t> </a:t>
          </a:r>
          <a:r>
            <a:rPr lang="en-US" dirty="0" err="1"/>
            <a:t>kota</a:t>
          </a:r>
          <a:r>
            <a:rPr lang="en-US" dirty="0"/>
            <a:t> </a:t>
          </a:r>
          <a:r>
            <a:rPr lang="en-US" dirty="0" err="1"/>
            <a:t>untuk</a:t>
          </a:r>
          <a:r>
            <a:rPr lang="en-US" dirty="0"/>
            <a:t> </a:t>
          </a:r>
          <a:r>
            <a:rPr lang="en-US" dirty="0" err="1"/>
            <a:t>melaksanakan</a:t>
          </a:r>
          <a:r>
            <a:rPr lang="en-US" dirty="0"/>
            <a:t> </a:t>
          </a:r>
          <a:r>
            <a:rPr lang="en-US" dirty="0" err="1"/>
            <a:t>sebagian</a:t>
          </a:r>
          <a:r>
            <a:rPr lang="en-US" dirty="0"/>
            <a:t> </a:t>
          </a:r>
          <a:r>
            <a:rPr lang="en-US" dirty="0" err="1"/>
            <a:t>Urusan</a:t>
          </a:r>
          <a:r>
            <a:rPr lang="en-US" dirty="0"/>
            <a:t> </a:t>
          </a:r>
          <a:r>
            <a:rPr lang="en-US" dirty="0" err="1"/>
            <a:t>Pemerintahan</a:t>
          </a:r>
          <a:r>
            <a:rPr lang="en-US" dirty="0"/>
            <a:t> yang </a:t>
          </a:r>
          <a:r>
            <a:rPr lang="en-US" dirty="0" err="1"/>
            <a:t>menjadi</a:t>
          </a:r>
          <a:r>
            <a:rPr lang="en-US" dirty="0"/>
            <a:t> </a:t>
          </a:r>
          <a:r>
            <a:rPr lang="en-US" dirty="0" err="1"/>
            <a:t>kewenangan</a:t>
          </a:r>
          <a:r>
            <a:rPr lang="en-US" dirty="0"/>
            <a:t> Daerah </a:t>
          </a:r>
          <a:r>
            <a:rPr lang="en-US" dirty="0" err="1"/>
            <a:t>Kabupaten</a:t>
          </a:r>
          <a:r>
            <a:rPr lang="en-US" dirty="0"/>
            <a:t>/Kota</a:t>
          </a:r>
          <a:endParaRPr lang="en-ID" dirty="0"/>
        </a:p>
      </dgm:t>
    </dgm:pt>
    <dgm:pt modelId="{582E239A-4AEA-405B-9075-F37881CED31A}" type="parTrans" cxnId="{4EDCE877-0786-454C-9627-5FD6FCDC9C15}">
      <dgm:prSet/>
      <dgm:spPr/>
      <dgm:t>
        <a:bodyPr/>
        <a:lstStyle/>
        <a:p>
          <a:endParaRPr lang="en-ID"/>
        </a:p>
      </dgm:t>
    </dgm:pt>
    <dgm:pt modelId="{7DC0ECB2-6A4B-4B1B-9B79-136896AB7BFB}" type="sibTrans" cxnId="{4EDCE877-0786-454C-9627-5FD6FCDC9C15}">
      <dgm:prSet/>
      <dgm:spPr/>
      <dgm:t>
        <a:bodyPr/>
        <a:lstStyle/>
        <a:p>
          <a:endParaRPr lang="en-ID"/>
        </a:p>
      </dgm:t>
    </dgm:pt>
    <dgm:pt modelId="{FB436ACD-AAE4-41AC-A948-EED6071B95CB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Pasal</a:t>
          </a:r>
          <a:r>
            <a:rPr lang="en-US" dirty="0">
              <a:solidFill>
                <a:schemeClr val="tx1"/>
              </a:solidFill>
            </a:rPr>
            <a:t> 226</a:t>
          </a:r>
          <a:endParaRPr lang="en-ID" dirty="0">
            <a:solidFill>
              <a:schemeClr val="tx1"/>
            </a:solidFill>
          </a:endParaRPr>
        </a:p>
      </dgm:t>
    </dgm:pt>
    <dgm:pt modelId="{8CFFAAC1-9799-4C20-BBCF-06808E9A9CE2}" type="parTrans" cxnId="{3B8CC4D2-33BF-4FAE-BF54-08243E3D0DF0}">
      <dgm:prSet/>
      <dgm:spPr/>
      <dgm:t>
        <a:bodyPr/>
        <a:lstStyle/>
        <a:p>
          <a:endParaRPr lang="en-ID"/>
        </a:p>
      </dgm:t>
    </dgm:pt>
    <dgm:pt modelId="{1514A535-835E-48DC-8D52-83FBE793F8E7}" type="sibTrans" cxnId="{3B8CC4D2-33BF-4FAE-BF54-08243E3D0DF0}">
      <dgm:prSet/>
      <dgm:spPr/>
      <dgm:t>
        <a:bodyPr/>
        <a:lstStyle/>
        <a:p>
          <a:endParaRPr lang="en-ID"/>
        </a:p>
      </dgm:t>
    </dgm:pt>
    <dgm:pt modelId="{BCC9C541-BA36-42C2-B29C-26A7EDB0F156}">
      <dgm:prSet phldrT="[Text]"/>
      <dgm:spPr/>
      <dgm:t>
        <a:bodyPr/>
        <a:lstStyle/>
        <a:p>
          <a:r>
            <a:rPr lang="en-US" dirty="0"/>
            <a:t>Ayat (2)</a:t>
          </a:r>
          <a:endParaRPr lang="en-ID" dirty="0"/>
        </a:p>
      </dgm:t>
    </dgm:pt>
    <dgm:pt modelId="{6CEAF906-DDF9-4D65-8812-D1008819648C}" type="parTrans" cxnId="{18E1413D-214E-442C-BA95-455957CAEE22}">
      <dgm:prSet/>
      <dgm:spPr/>
      <dgm:t>
        <a:bodyPr/>
        <a:lstStyle/>
        <a:p>
          <a:endParaRPr lang="en-ID"/>
        </a:p>
      </dgm:t>
    </dgm:pt>
    <dgm:pt modelId="{9C0095E0-5FB0-4693-B29D-18C4DF99171F}" type="sibTrans" cxnId="{18E1413D-214E-442C-BA95-455957CAEE22}">
      <dgm:prSet/>
      <dgm:spPr/>
      <dgm:t>
        <a:bodyPr/>
        <a:lstStyle/>
        <a:p>
          <a:endParaRPr lang="en-ID"/>
        </a:p>
      </dgm:t>
    </dgm:pt>
    <dgm:pt modelId="{84AE3E0C-A825-4CBF-82DD-FC3C0343C2B9}">
      <dgm:prSet phldrT="[Text]"/>
      <dgm:spPr/>
      <dgm:t>
        <a:bodyPr/>
        <a:lstStyle/>
        <a:p>
          <a:r>
            <a:rPr lang="en-US" dirty="0" err="1"/>
            <a:t>Pelimpahan</a:t>
          </a:r>
          <a:r>
            <a:rPr lang="en-US" dirty="0"/>
            <a:t> </a:t>
          </a:r>
          <a:r>
            <a:rPr lang="en-US" dirty="0" err="1"/>
            <a:t>kewenangan</a:t>
          </a:r>
          <a:r>
            <a:rPr lang="en-US" dirty="0"/>
            <a:t> </a:t>
          </a:r>
          <a:r>
            <a:rPr lang="en-US" dirty="0" err="1"/>
            <a:t>bupati</a:t>
          </a:r>
          <a:r>
            <a:rPr lang="en-US" dirty="0"/>
            <a:t>/</a:t>
          </a:r>
          <a:r>
            <a:rPr lang="en-US" dirty="0" err="1"/>
            <a:t>wali</a:t>
          </a:r>
          <a:r>
            <a:rPr lang="en-US" dirty="0"/>
            <a:t> </a:t>
          </a:r>
          <a:r>
            <a:rPr lang="en-US" dirty="0" err="1"/>
            <a:t>kota</a:t>
          </a:r>
          <a:r>
            <a:rPr lang="en-US" dirty="0"/>
            <a:t> </a:t>
          </a:r>
          <a:r>
            <a:rPr lang="en-US" dirty="0" err="1"/>
            <a:t>dilakukan</a:t>
          </a:r>
          <a:r>
            <a:rPr lang="en-US" dirty="0"/>
            <a:t> </a:t>
          </a:r>
          <a:r>
            <a:rPr lang="en-US" dirty="0" err="1"/>
            <a:t>berdasarkan</a:t>
          </a:r>
          <a:r>
            <a:rPr lang="en-US" dirty="0"/>
            <a:t> </a:t>
          </a:r>
          <a:r>
            <a:rPr lang="en-US" dirty="0" err="1"/>
            <a:t>pemetaan</a:t>
          </a:r>
          <a:r>
            <a:rPr lang="en-US" dirty="0"/>
            <a:t> </a:t>
          </a:r>
          <a:r>
            <a:rPr lang="en-US" dirty="0" err="1"/>
            <a:t>pelayanan</a:t>
          </a:r>
          <a:r>
            <a:rPr lang="en-US" dirty="0"/>
            <a:t> </a:t>
          </a:r>
          <a:r>
            <a:rPr lang="en-US" dirty="0" err="1"/>
            <a:t>publik</a:t>
          </a:r>
          <a:r>
            <a:rPr lang="en-US" dirty="0"/>
            <a:t> yang </a:t>
          </a:r>
          <a:r>
            <a:rPr lang="en-US" dirty="0" err="1"/>
            <a:t>sesuai</a:t>
          </a:r>
          <a:r>
            <a:rPr lang="en-US" dirty="0"/>
            <a:t>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karakteristik</a:t>
          </a:r>
          <a:r>
            <a:rPr lang="en-US" dirty="0"/>
            <a:t> </a:t>
          </a:r>
          <a:r>
            <a:rPr lang="en-US" dirty="0" err="1"/>
            <a:t>kecamatan</a:t>
          </a:r>
          <a:r>
            <a:rPr lang="en-US" dirty="0"/>
            <a:t> dan/</a:t>
          </a:r>
          <a:r>
            <a:rPr lang="en-US" dirty="0" err="1"/>
            <a:t>atau</a:t>
          </a:r>
          <a:r>
            <a:rPr lang="en-US" dirty="0"/>
            <a:t> </a:t>
          </a:r>
          <a:r>
            <a:rPr lang="en-US" dirty="0" err="1"/>
            <a:t>kebutuhan</a:t>
          </a:r>
          <a:r>
            <a:rPr lang="en-US" dirty="0"/>
            <a:t> </a:t>
          </a:r>
          <a:r>
            <a:rPr lang="en-US" dirty="0" err="1"/>
            <a:t>masyarakat</a:t>
          </a:r>
          <a:r>
            <a:rPr lang="en-US" dirty="0"/>
            <a:t> pada </a:t>
          </a:r>
          <a:r>
            <a:rPr lang="en-US" dirty="0" err="1"/>
            <a:t>kecamatan</a:t>
          </a:r>
          <a:r>
            <a:rPr lang="en-US" dirty="0"/>
            <a:t> yang </a:t>
          </a:r>
          <a:r>
            <a:rPr lang="en-US" dirty="0" err="1"/>
            <a:t>bersangkutan</a:t>
          </a:r>
          <a:endParaRPr lang="en-ID" dirty="0"/>
        </a:p>
      </dgm:t>
    </dgm:pt>
    <dgm:pt modelId="{D2FCCAB9-4EE0-46AD-AE6D-9B91FDC1FF57}" type="parTrans" cxnId="{2060EF23-0EFD-4043-985A-7A5CB33C518C}">
      <dgm:prSet/>
      <dgm:spPr/>
      <dgm:t>
        <a:bodyPr/>
        <a:lstStyle/>
        <a:p>
          <a:endParaRPr lang="en-ID"/>
        </a:p>
      </dgm:t>
    </dgm:pt>
    <dgm:pt modelId="{07CA887D-3819-47F7-9539-56F0BE305FFD}" type="sibTrans" cxnId="{2060EF23-0EFD-4043-985A-7A5CB33C518C}">
      <dgm:prSet/>
      <dgm:spPr/>
      <dgm:t>
        <a:bodyPr/>
        <a:lstStyle/>
        <a:p>
          <a:endParaRPr lang="en-ID"/>
        </a:p>
      </dgm:t>
    </dgm:pt>
    <dgm:pt modelId="{DF674316-515B-47AB-8D2D-545D35C4E89D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Pasal</a:t>
          </a:r>
          <a:r>
            <a:rPr lang="en-US" dirty="0">
              <a:solidFill>
                <a:schemeClr val="tx1"/>
              </a:solidFill>
            </a:rPr>
            <a:t> 226</a:t>
          </a:r>
          <a:endParaRPr lang="en-ID" dirty="0">
            <a:solidFill>
              <a:schemeClr val="tx1"/>
            </a:solidFill>
          </a:endParaRPr>
        </a:p>
      </dgm:t>
    </dgm:pt>
    <dgm:pt modelId="{6AE58708-7CF3-4A4F-A2B9-7898E1020465}" type="parTrans" cxnId="{7146E7C7-BF0B-43C7-88E8-4385ECE3B45C}">
      <dgm:prSet/>
      <dgm:spPr/>
      <dgm:t>
        <a:bodyPr/>
        <a:lstStyle/>
        <a:p>
          <a:endParaRPr lang="en-ID"/>
        </a:p>
      </dgm:t>
    </dgm:pt>
    <dgm:pt modelId="{8C4FF9D5-6456-4B31-8294-193D4A446647}" type="sibTrans" cxnId="{7146E7C7-BF0B-43C7-88E8-4385ECE3B45C}">
      <dgm:prSet/>
      <dgm:spPr/>
      <dgm:t>
        <a:bodyPr/>
        <a:lstStyle/>
        <a:p>
          <a:endParaRPr lang="en-ID"/>
        </a:p>
      </dgm:t>
    </dgm:pt>
    <dgm:pt modelId="{BEF912F1-B33A-4A6D-86E5-8B24EAFB2AB1}">
      <dgm:prSet phldrT="[Text]"/>
      <dgm:spPr/>
      <dgm:t>
        <a:bodyPr/>
        <a:lstStyle/>
        <a:p>
          <a:r>
            <a:rPr lang="en-US" dirty="0"/>
            <a:t>Ayat (3)</a:t>
          </a:r>
          <a:endParaRPr lang="en-ID" dirty="0"/>
        </a:p>
      </dgm:t>
    </dgm:pt>
    <dgm:pt modelId="{7D994DD3-D016-4817-ADC6-DE81F30ABAA0}" type="parTrans" cxnId="{ACADECF0-08B6-4338-BC6D-F5F3C57E2BDD}">
      <dgm:prSet/>
      <dgm:spPr/>
      <dgm:t>
        <a:bodyPr/>
        <a:lstStyle/>
        <a:p>
          <a:endParaRPr lang="en-ID"/>
        </a:p>
      </dgm:t>
    </dgm:pt>
    <dgm:pt modelId="{77BAC955-FA57-440E-A6F1-118D3546067D}" type="sibTrans" cxnId="{ACADECF0-08B6-4338-BC6D-F5F3C57E2BDD}">
      <dgm:prSet/>
      <dgm:spPr/>
      <dgm:t>
        <a:bodyPr/>
        <a:lstStyle/>
        <a:p>
          <a:endParaRPr lang="en-ID"/>
        </a:p>
      </dgm:t>
    </dgm:pt>
    <dgm:pt modelId="{45AF3C85-F2D4-403D-BE68-DB95DDAA4557}">
      <dgm:prSet phldrT="[Text]"/>
      <dgm:spPr/>
      <dgm:t>
        <a:bodyPr/>
        <a:lstStyle/>
        <a:p>
          <a:r>
            <a:rPr lang="en-US" dirty="0" err="1"/>
            <a:t>Pelimpahan</a:t>
          </a:r>
          <a:r>
            <a:rPr lang="en-US" dirty="0"/>
            <a:t> </a:t>
          </a:r>
          <a:r>
            <a:rPr lang="en-US" dirty="0" err="1"/>
            <a:t>kewenangan</a:t>
          </a:r>
          <a:r>
            <a:rPr lang="en-US" dirty="0"/>
            <a:t> </a:t>
          </a:r>
          <a:r>
            <a:rPr lang="en-US" dirty="0" err="1"/>
            <a:t>bupati</a:t>
          </a:r>
          <a:r>
            <a:rPr lang="en-US" dirty="0"/>
            <a:t>/</a:t>
          </a:r>
          <a:r>
            <a:rPr lang="en-US" dirty="0" err="1"/>
            <a:t>wali</a:t>
          </a:r>
          <a:r>
            <a:rPr lang="en-US" dirty="0"/>
            <a:t> </a:t>
          </a:r>
          <a:r>
            <a:rPr lang="en-US" dirty="0" err="1"/>
            <a:t>kota</a:t>
          </a:r>
          <a:r>
            <a:rPr lang="en-US" dirty="0"/>
            <a:t> </a:t>
          </a:r>
          <a:r>
            <a:rPr lang="en-US" dirty="0" err="1"/>
            <a:t>ditetapkan</a:t>
          </a:r>
          <a:r>
            <a:rPr lang="en-US" dirty="0"/>
            <a:t>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keputusan</a:t>
          </a:r>
          <a:r>
            <a:rPr lang="en-US" dirty="0"/>
            <a:t> </a:t>
          </a:r>
          <a:r>
            <a:rPr lang="en-US" dirty="0" err="1"/>
            <a:t>bupati</a:t>
          </a:r>
          <a:r>
            <a:rPr lang="en-US" dirty="0"/>
            <a:t>/</a:t>
          </a:r>
          <a:r>
            <a:rPr lang="en-US" dirty="0" err="1"/>
            <a:t>wali</a:t>
          </a:r>
          <a:r>
            <a:rPr lang="en-US" dirty="0"/>
            <a:t> </a:t>
          </a:r>
          <a:r>
            <a:rPr lang="en-US" dirty="0" err="1"/>
            <a:t>kota</a:t>
          </a:r>
          <a:r>
            <a:rPr lang="en-US" dirty="0"/>
            <a:t> </a:t>
          </a:r>
          <a:r>
            <a:rPr lang="en-US" dirty="0" err="1"/>
            <a:t>berpedoman</a:t>
          </a:r>
          <a:r>
            <a:rPr lang="en-US" dirty="0"/>
            <a:t> pada </a:t>
          </a:r>
          <a:r>
            <a:rPr lang="en-US" dirty="0" err="1"/>
            <a:t>peraturan</a:t>
          </a:r>
          <a:r>
            <a:rPr lang="en-US" dirty="0"/>
            <a:t> </a:t>
          </a:r>
          <a:r>
            <a:rPr lang="en-US" dirty="0" err="1"/>
            <a:t>pemerintah</a:t>
          </a:r>
          <a:endParaRPr lang="en-ID" dirty="0"/>
        </a:p>
      </dgm:t>
    </dgm:pt>
    <dgm:pt modelId="{7BF89F5A-372A-4661-9703-60FA6B4418C2}" type="parTrans" cxnId="{93F54BBE-BF6D-4632-95D5-7A5FD6647B5B}">
      <dgm:prSet/>
      <dgm:spPr/>
      <dgm:t>
        <a:bodyPr/>
        <a:lstStyle/>
        <a:p>
          <a:endParaRPr lang="en-ID"/>
        </a:p>
      </dgm:t>
    </dgm:pt>
    <dgm:pt modelId="{509A047B-3C5C-49ED-A69B-053707C86E38}" type="sibTrans" cxnId="{93F54BBE-BF6D-4632-95D5-7A5FD6647B5B}">
      <dgm:prSet/>
      <dgm:spPr/>
      <dgm:t>
        <a:bodyPr/>
        <a:lstStyle/>
        <a:p>
          <a:endParaRPr lang="en-ID"/>
        </a:p>
      </dgm:t>
    </dgm:pt>
    <dgm:pt modelId="{6CAEB300-A2EB-4E4F-AC42-760310E4C4AF}" type="pres">
      <dgm:prSet presAssocID="{CF2BAB5D-44B3-496C-8984-7B592E621AD8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46B59AB-8491-44FA-B914-7D5CF801BF11}" type="pres">
      <dgm:prSet presAssocID="{D0CC4DE9-279E-492E-9C25-10D4FACA39C5}" presName="composite" presStyleCnt="0"/>
      <dgm:spPr/>
    </dgm:pt>
    <dgm:pt modelId="{1E4862D8-9834-4C03-8F06-6E576A3A50B9}" type="pres">
      <dgm:prSet presAssocID="{D0CC4DE9-279E-492E-9C25-10D4FACA39C5}" presName="FirstChild" presStyleLbl="revTx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A901B3-A781-48E1-B30F-D8214AEA5AC2}" type="pres">
      <dgm:prSet presAssocID="{D0CC4DE9-279E-492E-9C25-10D4FACA39C5}" presName="Parent" presStyleLbl="alignNode1" presStyleIdx="0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1D4179-B3A6-4CF6-B450-142640484EF8}" type="pres">
      <dgm:prSet presAssocID="{D0CC4DE9-279E-492E-9C25-10D4FACA39C5}" presName="Accent" presStyleLbl="parChTrans1D1" presStyleIdx="0" presStyleCnt="3"/>
      <dgm:spPr/>
    </dgm:pt>
    <dgm:pt modelId="{501062F8-0FC8-4C9B-9C85-6088BE20BC98}" type="pres">
      <dgm:prSet presAssocID="{D0CC4DE9-279E-492E-9C25-10D4FACA39C5}" presName="Child" presStyleLbl="revTx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32FCE4-3704-42A8-AC3B-702B660AD443}" type="pres">
      <dgm:prSet presAssocID="{CBFFBA8D-E01C-49CB-961C-3F9E2F4EC522}" presName="sibTrans" presStyleCnt="0"/>
      <dgm:spPr/>
    </dgm:pt>
    <dgm:pt modelId="{6C044647-0068-40B5-BFAB-29A09A08BF24}" type="pres">
      <dgm:prSet presAssocID="{FB436ACD-AAE4-41AC-A948-EED6071B95CB}" presName="composite" presStyleCnt="0"/>
      <dgm:spPr/>
    </dgm:pt>
    <dgm:pt modelId="{26AFBD99-0D2C-497E-A5FB-E74ACAB4313C}" type="pres">
      <dgm:prSet presAssocID="{FB436ACD-AAE4-41AC-A948-EED6071B95CB}" presName="FirstChild" presStyleLbl="revTx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E380EC-71E9-44D2-8E22-3DE4BDF6D440}" type="pres">
      <dgm:prSet presAssocID="{FB436ACD-AAE4-41AC-A948-EED6071B95CB}" presName="Parent" presStyleLbl="alignNode1" presStyleIdx="1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C3EE5F-DE04-43B7-8897-544DEC6AED49}" type="pres">
      <dgm:prSet presAssocID="{FB436ACD-AAE4-41AC-A948-EED6071B95CB}" presName="Accent" presStyleLbl="parChTrans1D1" presStyleIdx="1" presStyleCnt="3"/>
      <dgm:spPr/>
    </dgm:pt>
    <dgm:pt modelId="{BE92B7AB-A0DE-41A7-A2B0-17D8A24424D9}" type="pres">
      <dgm:prSet presAssocID="{FB436ACD-AAE4-41AC-A948-EED6071B95CB}" presName="Child" presStyleLbl="revTx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BF0DB6-6865-43B7-AFCC-54A0E15D99AB}" type="pres">
      <dgm:prSet presAssocID="{1514A535-835E-48DC-8D52-83FBE793F8E7}" presName="sibTrans" presStyleCnt="0"/>
      <dgm:spPr/>
    </dgm:pt>
    <dgm:pt modelId="{842D1E3E-98BC-438A-85D2-FE9589BA5D92}" type="pres">
      <dgm:prSet presAssocID="{DF674316-515B-47AB-8D2D-545D35C4E89D}" presName="composite" presStyleCnt="0"/>
      <dgm:spPr/>
    </dgm:pt>
    <dgm:pt modelId="{6ED4DB38-C595-4F92-886F-1623B5865665}" type="pres">
      <dgm:prSet presAssocID="{DF674316-515B-47AB-8D2D-545D35C4E89D}" presName="FirstChild" presStyleLbl="revTx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1770C6-F91B-4969-BD7A-BF7B20CEDB14}" type="pres">
      <dgm:prSet presAssocID="{DF674316-515B-47AB-8D2D-545D35C4E89D}" presName="Parent" presStyleLbl="alignNode1" presStyleIdx="2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50CC8E-5ADC-4893-8F86-E609A1F0AB79}" type="pres">
      <dgm:prSet presAssocID="{DF674316-515B-47AB-8D2D-545D35C4E89D}" presName="Accent" presStyleLbl="parChTrans1D1" presStyleIdx="2" presStyleCnt="3"/>
      <dgm:spPr/>
    </dgm:pt>
    <dgm:pt modelId="{F13D5F97-4C5D-4B16-992F-309FA7787B3F}" type="pres">
      <dgm:prSet presAssocID="{DF674316-515B-47AB-8D2D-545D35C4E89D}" presName="Child" presStyleLbl="revTx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19B2FAA-3CEC-417C-A37B-5E29BC0B3EE4}" type="presOf" srcId="{BEF912F1-B33A-4A6D-86E5-8B24EAFB2AB1}" destId="{6ED4DB38-C595-4F92-886F-1623B5865665}" srcOrd="0" destOrd="0" presId="urn:microsoft.com/office/officeart/2011/layout/TabList"/>
    <dgm:cxn modelId="{9B81FD1B-0E7F-4CDE-8863-FD8A3FCAD90F}" type="presOf" srcId="{DF674316-515B-47AB-8D2D-545D35C4E89D}" destId="{181770C6-F91B-4969-BD7A-BF7B20CEDB14}" srcOrd="0" destOrd="0" presId="urn:microsoft.com/office/officeart/2011/layout/TabList"/>
    <dgm:cxn modelId="{1979BBE0-0BEA-4A25-A984-9A7136D8FDE6}" type="presOf" srcId="{45AF3C85-F2D4-403D-BE68-DB95DDAA4557}" destId="{F13D5F97-4C5D-4B16-992F-309FA7787B3F}" srcOrd="0" destOrd="0" presId="urn:microsoft.com/office/officeart/2011/layout/TabList"/>
    <dgm:cxn modelId="{E1142788-15ED-4F65-A51E-A06A6032D64D}" type="presOf" srcId="{C55B2E29-9858-4AE4-917F-83D23ACC9873}" destId="{501062F8-0FC8-4C9B-9C85-6088BE20BC98}" srcOrd="0" destOrd="0" presId="urn:microsoft.com/office/officeart/2011/layout/TabList"/>
    <dgm:cxn modelId="{93F54BBE-BF6D-4632-95D5-7A5FD6647B5B}" srcId="{DF674316-515B-47AB-8D2D-545D35C4E89D}" destId="{45AF3C85-F2D4-403D-BE68-DB95DDAA4557}" srcOrd="1" destOrd="0" parTransId="{7BF89F5A-372A-4661-9703-60FA6B4418C2}" sibTransId="{509A047B-3C5C-49ED-A69B-053707C86E38}"/>
    <dgm:cxn modelId="{7146E7C7-BF0B-43C7-88E8-4385ECE3B45C}" srcId="{CF2BAB5D-44B3-496C-8984-7B592E621AD8}" destId="{DF674316-515B-47AB-8D2D-545D35C4E89D}" srcOrd="2" destOrd="0" parTransId="{6AE58708-7CF3-4A4F-A2B9-7898E1020465}" sibTransId="{8C4FF9D5-6456-4B31-8294-193D4A446647}"/>
    <dgm:cxn modelId="{985D7697-D25A-4F5B-99FD-8AB94A5493F0}" type="presOf" srcId="{34E39D2B-E864-4F46-AC17-A1751EEEBE62}" destId="{1E4862D8-9834-4C03-8F06-6E576A3A50B9}" srcOrd="0" destOrd="0" presId="urn:microsoft.com/office/officeart/2011/layout/TabList"/>
    <dgm:cxn modelId="{87B138F8-1467-49D7-8E17-865FBF7CCCBC}" type="presOf" srcId="{FB436ACD-AAE4-41AC-A948-EED6071B95CB}" destId="{E0E380EC-71E9-44D2-8E22-3DE4BDF6D440}" srcOrd="0" destOrd="0" presId="urn:microsoft.com/office/officeart/2011/layout/TabList"/>
    <dgm:cxn modelId="{EDBB453F-83CE-4BDD-A78B-94C490DDCA13}" type="presOf" srcId="{CF2BAB5D-44B3-496C-8984-7B592E621AD8}" destId="{6CAEB300-A2EB-4E4F-AC42-760310E4C4AF}" srcOrd="0" destOrd="0" presId="urn:microsoft.com/office/officeart/2011/layout/TabList"/>
    <dgm:cxn modelId="{D395A879-FDA7-458E-8D8A-80F3FF87B605}" type="presOf" srcId="{BCC9C541-BA36-42C2-B29C-26A7EDB0F156}" destId="{26AFBD99-0D2C-497E-A5FB-E74ACAB4313C}" srcOrd="0" destOrd="0" presId="urn:microsoft.com/office/officeart/2011/layout/TabList"/>
    <dgm:cxn modelId="{6CC92A29-0566-447F-8B3A-2376EA0C162B}" type="presOf" srcId="{84AE3E0C-A825-4CBF-82DD-FC3C0343C2B9}" destId="{BE92B7AB-A0DE-41A7-A2B0-17D8A24424D9}" srcOrd="0" destOrd="0" presId="urn:microsoft.com/office/officeart/2011/layout/TabList"/>
    <dgm:cxn modelId="{2CF806D8-157F-44F6-BEEB-1ADD7D35E70F}" srcId="{CF2BAB5D-44B3-496C-8984-7B592E621AD8}" destId="{D0CC4DE9-279E-492E-9C25-10D4FACA39C5}" srcOrd="0" destOrd="0" parTransId="{C3482CA4-B63E-444A-A21E-049647209E73}" sibTransId="{CBFFBA8D-E01C-49CB-961C-3F9E2F4EC522}"/>
    <dgm:cxn modelId="{B6579438-16E4-440F-8D11-BBC43482E61A}" type="presOf" srcId="{D0CC4DE9-279E-492E-9C25-10D4FACA39C5}" destId="{BFA901B3-A781-48E1-B30F-D8214AEA5AC2}" srcOrd="0" destOrd="0" presId="urn:microsoft.com/office/officeart/2011/layout/TabList"/>
    <dgm:cxn modelId="{2060EF23-0EFD-4043-985A-7A5CB33C518C}" srcId="{FB436ACD-AAE4-41AC-A948-EED6071B95CB}" destId="{84AE3E0C-A825-4CBF-82DD-FC3C0343C2B9}" srcOrd="1" destOrd="0" parTransId="{D2FCCAB9-4EE0-46AD-AE6D-9B91FDC1FF57}" sibTransId="{07CA887D-3819-47F7-9539-56F0BE305FFD}"/>
    <dgm:cxn modelId="{ACADECF0-08B6-4338-BC6D-F5F3C57E2BDD}" srcId="{DF674316-515B-47AB-8D2D-545D35C4E89D}" destId="{BEF912F1-B33A-4A6D-86E5-8B24EAFB2AB1}" srcOrd="0" destOrd="0" parTransId="{7D994DD3-D016-4817-ADC6-DE81F30ABAA0}" sibTransId="{77BAC955-FA57-440E-A6F1-118D3546067D}"/>
    <dgm:cxn modelId="{47732684-06C1-4609-AE91-32FD5183F905}" srcId="{D0CC4DE9-279E-492E-9C25-10D4FACA39C5}" destId="{34E39D2B-E864-4F46-AC17-A1751EEEBE62}" srcOrd="0" destOrd="0" parTransId="{195DCB62-6EAE-4D30-9D94-DAA1594D8962}" sibTransId="{16F69D35-1F94-4B38-B56D-05DD432486EE}"/>
    <dgm:cxn modelId="{3B8CC4D2-33BF-4FAE-BF54-08243E3D0DF0}" srcId="{CF2BAB5D-44B3-496C-8984-7B592E621AD8}" destId="{FB436ACD-AAE4-41AC-A948-EED6071B95CB}" srcOrd="1" destOrd="0" parTransId="{8CFFAAC1-9799-4C20-BBCF-06808E9A9CE2}" sibTransId="{1514A535-835E-48DC-8D52-83FBE793F8E7}"/>
    <dgm:cxn modelId="{18E1413D-214E-442C-BA95-455957CAEE22}" srcId="{FB436ACD-AAE4-41AC-A948-EED6071B95CB}" destId="{BCC9C541-BA36-42C2-B29C-26A7EDB0F156}" srcOrd="0" destOrd="0" parTransId="{6CEAF906-DDF9-4D65-8812-D1008819648C}" sibTransId="{9C0095E0-5FB0-4693-B29D-18C4DF99171F}"/>
    <dgm:cxn modelId="{4EDCE877-0786-454C-9627-5FD6FCDC9C15}" srcId="{D0CC4DE9-279E-492E-9C25-10D4FACA39C5}" destId="{C55B2E29-9858-4AE4-917F-83D23ACC9873}" srcOrd="1" destOrd="0" parTransId="{582E239A-4AEA-405B-9075-F37881CED31A}" sibTransId="{7DC0ECB2-6A4B-4B1B-9B79-136896AB7BFB}"/>
    <dgm:cxn modelId="{42D6554D-83EC-4D53-AB1F-A930DF458B45}" type="presParOf" srcId="{6CAEB300-A2EB-4E4F-AC42-760310E4C4AF}" destId="{146B59AB-8491-44FA-B914-7D5CF801BF11}" srcOrd="0" destOrd="0" presId="urn:microsoft.com/office/officeart/2011/layout/TabList"/>
    <dgm:cxn modelId="{8F249D5A-AD2A-4437-82FD-77D81C41E9E9}" type="presParOf" srcId="{146B59AB-8491-44FA-B914-7D5CF801BF11}" destId="{1E4862D8-9834-4C03-8F06-6E576A3A50B9}" srcOrd="0" destOrd="0" presId="urn:microsoft.com/office/officeart/2011/layout/TabList"/>
    <dgm:cxn modelId="{7D97CF29-A1EC-43B2-8A76-069DDFEECF55}" type="presParOf" srcId="{146B59AB-8491-44FA-B914-7D5CF801BF11}" destId="{BFA901B3-A781-48E1-B30F-D8214AEA5AC2}" srcOrd="1" destOrd="0" presId="urn:microsoft.com/office/officeart/2011/layout/TabList"/>
    <dgm:cxn modelId="{72E908F4-6D07-4245-86FD-CC57FED2E59C}" type="presParOf" srcId="{146B59AB-8491-44FA-B914-7D5CF801BF11}" destId="{E61D4179-B3A6-4CF6-B450-142640484EF8}" srcOrd="2" destOrd="0" presId="urn:microsoft.com/office/officeart/2011/layout/TabList"/>
    <dgm:cxn modelId="{5A2A8240-90B7-4F92-9E77-4E4DBB3B4A03}" type="presParOf" srcId="{6CAEB300-A2EB-4E4F-AC42-760310E4C4AF}" destId="{501062F8-0FC8-4C9B-9C85-6088BE20BC98}" srcOrd="1" destOrd="0" presId="urn:microsoft.com/office/officeart/2011/layout/TabList"/>
    <dgm:cxn modelId="{DCD34364-9DB7-43EF-94F4-FC59F64807B3}" type="presParOf" srcId="{6CAEB300-A2EB-4E4F-AC42-760310E4C4AF}" destId="{7832FCE4-3704-42A8-AC3B-702B660AD443}" srcOrd="2" destOrd="0" presId="urn:microsoft.com/office/officeart/2011/layout/TabList"/>
    <dgm:cxn modelId="{B2EB9AC8-C758-48E8-821F-D9DAA253FD12}" type="presParOf" srcId="{6CAEB300-A2EB-4E4F-AC42-760310E4C4AF}" destId="{6C044647-0068-40B5-BFAB-29A09A08BF24}" srcOrd="3" destOrd="0" presId="urn:microsoft.com/office/officeart/2011/layout/TabList"/>
    <dgm:cxn modelId="{FF08E9B3-FABF-4FF4-AE60-B3D40A67885A}" type="presParOf" srcId="{6C044647-0068-40B5-BFAB-29A09A08BF24}" destId="{26AFBD99-0D2C-497E-A5FB-E74ACAB4313C}" srcOrd="0" destOrd="0" presId="urn:microsoft.com/office/officeart/2011/layout/TabList"/>
    <dgm:cxn modelId="{5EEEF57A-CE8C-483A-BE52-ABAF1395F782}" type="presParOf" srcId="{6C044647-0068-40B5-BFAB-29A09A08BF24}" destId="{E0E380EC-71E9-44D2-8E22-3DE4BDF6D440}" srcOrd="1" destOrd="0" presId="urn:microsoft.com/office/officeart/2011/layout/TabList"/>
    <dgm:cxn modelId="{6A553D05-7394-40D7-ADC5-8818ADF5ABE3}" type="presParOf" srcId="{6C044647-0068-40B5-BFAB-29A09A08BF24}" destId="{C7C3EE5F-DE04-43B7-8897-544DEC6AED49}" srcOrd="2" destOrd="0" presId="urn:microsoft.com/office/officeart/2011/layout/TabList"/>
    <dgm:cxn modelId="{E2E72D2A-3F25-4DF2-A44A-C45DA6A4D3B2}" type="presParOf" srcId="{6CAEB300-A2EB-4E4F-AC42-760310E4C4AF}" destId="{BE92B7AB-A0DE-41A7-A2B0-17D8A24424D9}" srcOrd="4" destOrd="0" presId="urn:microsoft.com/office/officeart/2011/layout/TabList"/>
    <dgm:cxn modelId="{DA176CE1-BB07-4048-9818-A59E327FAE3B}" type="presParOf" srcId="{6CAEB300-A2EB-4E4F-AC42-760310E4C4AF}" destId="{83BF0DB6-6865-43B7-AFCC-54A0E15D99AB}" srcOrd="5" destOrd="0" presId="urn:microsoft.com/office/officeart/2011/layout/TabList"/>
    <dgm:cxn modelId="{AD0D6ACD-A655-4F3B-A299-3E4DAB9859D2}" type="presParOf" srcId="{6CAEB300-A2EB-4E4F-AC42-760310E4C4AF}" destId="{842D1E3E-98BC-438A-85D2-FE9589BA5D92}" srcOrd="6" destOrd="0" presId="urn:microsoft.com/office/officeart/2011/layout/TabList"/>
    <dgm:cxn modelId="{EB60BD2E-BC48-46F4-9427-038FC12C73F6}" type="presParOf" srcId="{842D1E3E-98BC-438A-85D2-FE9589BA5D92}" destId="{6ED4DB38-C595-4F92-886F-1623B5865665}" srcOrd="0" destOrd="0" presId="urn:microsoft.com/office/officeart/2011/layout/TabList"/>
    <dgm:cxn modelId="{3588391B-D8D8-4606-9AD3-1D09C9A0CA49}" type="presParOf" srcId="{842D1E3E-98BC-438A-85D2-FE9589BA5D92}" destId="{181770C6-F91B-4969-BD7A-BF7B20CEDB14}" srcOrd="1" destOrd="0" presId="urn:microsoft.com/office/officeart/2011/layout/TabList"/>
    <dgm:cxn modelId="{792DBC55-1C1F-47A2-8860-8262C2DA8FA9}" type="presParOf" srcId="{842D1E3E-98BC-438A-85D2-FE9589BA5D92}" destId="{E250CC8E-5ADC-4893-8F86-E609A1F0AB79}" srcOrd="2" destOrd="0" presId="urn:microsoft.com/office/officeart/2011/layout/TabList"/>
    <dgm:cxn modelId="{F92F3EB2-4634-41AC-9CE7-DE9C7A682AC3}" type="presParOf" srcId="{6CAEB300-A2EB-4E4F-AC42-760310E4C4AF}" destId="{F13D5F97-4C5D-4B16-992F-309FA7787B3F}" srcOrd="7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50CC8E-5ADC-4893-8F86-E609A1F0AB79}">
      <dsp:nvSpPr>
        <dsp:cNvPr id="0" name=""/>
        <dsp:cNvSpPr/>
      </dsp:nvSpPr>
      <dsp:spPr>
        <a:xfrm>
          <a:off x="0" y="3305432"/>
          <a:ext cx="7557569" cy="0"/>
        </a:xfrm>
        <a:prstGeom prst="line">
          <a:avLst/>
        </a:pr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C3EE5F-DE04-43B7-8897-544DEC6AED49}">
      <dsp:nvSpPr>
        <dsp:cNvPr id="0" name=""/>
        <dsp:cNvSpPr/>
      </dsp:nvSpPr>
      <dsp:spPr>
        <a:xfrm>
          <a:off x="0" y="1885696"/>
          <a:ext cx="7557569" cy="0"/>
        </a:xfrm>
        <a:prstGeom prst="line">
          <a:avLst/>
        </a:pr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1D4179-B3A6-4CF6-B450-142640484EF8}">
      <dsp:nvSpPr>
        <dsp:cNvPr id="0" name=""/>
        <dsp:cNvSpPr/>
      </dsp:nvSpPr>
      <dsp:spPr>
        <a:xfrm>
          <a:off x="0" y="465960"/>
          <a:ext cx="7557569" cy="0"/>
        </a:xfrm>
        <a:prstGeom prst="line">
          <a:avLst/>
        </a:prstGeom>
        <a:noFill/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4862D8-9834-4C03-8F06-6E576A3A50B9}">
      <dsp:nvSpPr>
        <dsp:cNvPr id="0" name=""/>
        <dsp:cNvSpPr/>
      </dsp:nvSpPr>
      <dsp:spPr>
        <a:xfrm>
          <a:off x="1964967" y="519"/>
          <a:ext cx="5592601" cy="4654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Ayat (1)</a:t>
          </a:r>
          <a:endParaRPr lang="en-ID" sz="2400" kern="1200" dirty="0"/>
        </a:p>
      </dsp:txBody>
      <dsp:txXfrm>
        <a:off x="1964967" y="519"/>
        <a:ext cx="5592601" cy="465441"/>
      </dsp:txXfrm>
    </dsp:sp>
    <dsp:sp modelId="{BFA901B3-A781-48E1-B30F-D8214AEA5AC2}">
      <dsp:nvSpPr>
        <dsp:cNvPr id="0" name=""/>
        <dsp:cNvSpPr/>
      </dsp:nvSpPr>
      <dsp:spPr>
        <a:xfrm>
          <a:off x="0" y="519"/>
          <a:ext cx="1964967" cy="465441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solidFill>
                <a:schemeClr val="tx1"/>
              </a:solidFill>
            </a:rPr>
            <a:t>Pasal</a:t>
          </a:r>
          <a:r>
            <a:rPr lang="en-US" sz="2400" kern="1200" dirty="0">
              <a:solidFill>
                <a:schemeClr val="tx1"/>
              </a:solidFill>
            </a:rPr>
            <a:t> 226</a:t>
          </a:r>
          <a:endParaRPr lang="en-ID" sz="2400" kern="1200" dirty="0">
            <a:solidFill>
              <a:schemeClr val="tx1"/>
            </a:solidFill>
          </a:endParaRPr>
        </a:p>
      </dsp:txBody>
      <dsp:txXfrm>
        <a:off x="22725" y="23244"/>
        <a:ext cx="1919517" cy="442716"/>
      </dsp:txXfrm>
    </dsp:sp>
    <dsp:sp modelId="{501062F8-0FC8-4C9B-9C85-6088BE20BC98}">
      <dsp:nvSpPr>
        <dsp:cNvPr id="0" name=""/>
        <dsp:cNvSpPr/>
      </dsp:nvSpPr>
      <dsp:spPr>
        <a:xfrm>
          <a:off x="0" y="465960"/>
          <a:ext cx="7557569" cy="9310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err="1"/>
            <a:t>Camat</a:t>
          </a:r>
          <a:r>
            <a:rPr lang="en-US" sz="1900" kern="1200" dirty="0"/>
            <a:t> </a:t>
          </a:r>
          <a:r>
            <a:rPr lang="en-US" sz="1900" kern="1200" dirty="0" err="1"/>
            <a:t>mendapatkan</a:t>
          </a:r>
          <a:r>
            <a:rPr lang="en-US" sz="1900" kern="1200" dirty="0"/>
            <a:t> </a:t>
          </a:r>
          <a:r>
            <a:rPr lang="en-US" sz="1900" kern="1200" dirty="0" err="1"/>
            <a:t>pelimpahan</a:t>
          </a:r>
          <a:r>
            <a:rPr lang="en-US" sz="1900" kern="1200" dirty="0"/>
            <a:t> </a:t>
          </a:r>
          <a:r>
            <a:rPr lang="en-US" sz="1900" kern="1200" dirty="0" err="1"/>
            <a:t>sebagian</a:t>
          </a:r>
          <a:r>
            <a:rPr lang="en-US" sz="1900" kern="1200" dirty="0"/>
            <a:t> </a:t>
          </a:r>
          <a:r>
            <a:rPr lang="en-US" sz="1900" kern="1200" dirty="0" err="1"/>
            <a:t>kewenangan</a:t>
          </a:r>
          <a:r>
            <a:rPr lang="en-US" sz="1900" kern="1200" dirty="0"/>
            <a:t> </a:t>
          </a:r>
          <a:r>
            <a:rPr lang="en-US" sz="1900" kern="1200" dirty="0" err="1"/>
            <a:t>bupati</a:t>
          </a:r>
          <a:r>
            <a:rPr lang="en-US" sz="1900" kern="1200" dirty="0"/>
            <a:t>/</a:t>
          </a:r>
          <a:r>
            <a:rPr lang="en-US" sz="1900" kern="1200" dirty="0" err="1"/>
            <a:t>wali</a:t>
          </a:r>
          <a:r>
            <a:rPr lang="en-US" sz="1900" kern="1200" dirty="0"/>
            <a:t> </a:t>
          </a:r>
          <a:r>
            <a:rPr lang="en-US" sz="1900" kern="1200" dirty="0" err="1"/>
            <a:t>kota</a:t>
          </a:r>
          <a:r>
            <a:rPr lang="en-US" sz="1900" kern="1200" dirty="0"/>
            <a:t> </a:t>
          </a:r>
          <a:r>
            <a:rPr lang="en-US" sz="1900" kern="1200" dirty="0" err="1"/>
            <a:t>untuk</a:t>
          </a:r>
          <a:r>
            <a:rPr lang="en-US" sz="1900" kern="1200" dirty="0"/>
            <a:t> </a:t>
          </a:r>
          <a:r>
            <a:rPr lang="en-US" sz="1900" kern="1200" dirty="0" err="1"/>
            <a:t>melaksanakan</a:t>
          </a:r>
          <a:r>
            <a:rPr lang="en-US" sz="1900" kern="1200" dirty="0"/>
            <a:t> </a:t>
          </a:r>
          <a:r>
            <a:rPr lang="en-US" sz="1900" kern="1200" dirty="0" err="1"/>
            <a:t>sebagian</a:t>
          </a:r>
          <a:r>
            <a:rPr lang="en-US" sz="1900" kern="1200" dirty="0"/>
            <a:t> </a:t>
          </a:r>
          <a:r>
            <a:rPr lang="en-US" sz="1900" kern="1200" dirty="0" err="1"/>
            <a:t>Urusan</a:t>
          </a:r>
          <a:r>
            <a:rPr lang="en-US" sz="1900" kern="1200" dirty="0"/>
            <a:t> </a:t>
          </a:r>
          <a:r>
            <a:rPr lang="en-US" sz="1900" kern="1200" dirty="0" err="1"/>
            <a:t>Pemerintahan</a:t>
          </a:r>
          <a:r>
            <a:rPr lang="en-US" sz="1900" kern="1200" dirty="0"/>
            <a:t> yang </a:t>
          </a:r>
          <a:r>
            <a:rPr lang="en-US" sz="1900" kern="1200" dirty="0" err="1"/>
            <a:t>menjadi</a:t>
          </a:r>
          <a:r>
            <a:rPr lang="en-US" sz="1900" kern="1200" dirty="0"/>
            <a:t> </a:t>
          </a:r>
          <a:r>
            <a:rPr lang="en-US" sz="1900" kern="1200" dirty="0" err="1"/>
            <a:t>kewenangan</a:t>
          </a:r>
          <a:r>
            <a:rPr lang="en-US" sz="1900" kern="1200" dirty="0"/>
            <a:t> Daerah </a:t>
          </a:r>
          <a:r>
            <a:rPr lang="en-US" sz="1900" kern="1200" dirty="0" err="1"/>
            <a:t>Kabupaten</a:t>
          </a:r>
          <a:r>
            <a:rPr lang="en-US" sz="1900" kern="1200" dirty="0"/>
            <a:t>/Kota</a:t>
          </a:r>
          <a:endParaRPr lang="en-ID" sz="1900" kern="1200" dirty="0"/>
        </a:p>
      </dsp:txBody>
      <dsp:txXfrm>
        <a:off x="0" y="465960"/>
        <a:ext cx="7557569" cy="931022"/>
      </dsp:txXfrm>
    </dsp:sp>
    <dsp:sp modelId="{26AFBD99-0D2C-497E-A5FB-E74ACAB4313C}">
      <dsp:nvSpPr>
        <dsp:cNvPr id="0" name=""/>
        <dsp:cNvSpPr/>
      </dsp:nvSpPr>
      <dsp:spPr>
        <a:xfrm>
          <a:off x="1964967" y="1420255"/>
          <a:ext cx="5592601" cy="4654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Ayat (2)</a:t>
          </a:r>
          <a:endParaRPr lang="en-ID" sz="2400" kern="1200" dirty="0"/>
        </a:p>
      </dsp:txBody>
      <dsp:txXfrm>
        <a:off x="1964967" y="1420255"/>
        <a:ext cx="5592601" cy="465441"/>
      </dsp:txXfrm>
    </dsp:sp>
    <dsp:sp modelId="{E0E380EC-71E9-44D2-8E22-3DE4BDF6D440}">
      <dsp:nvSpPr>
        <dsp:cNvPr id="0" name=""/>
        <dsp:cNvSpPr/>
      </dsp:nvSpPr>
      <dsp:spPr>
        <a:xfrm>
          <a:off x="0" y="1420255"/>
          <a:ext cx="1964967" cy="465441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0000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2000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000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alpha val="90000"/>
              <a:hueOff val="0"/>
              <a:satOff val="0"/>
              <a:lumOff val="0"/>
              <a:alphaOff val="-2000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solidFill>
                <a:schemeClr val="tx1"/>
              </a:solidFill>
            </a:rPr>
            <a:t>Pasal</a:t>
          </a:r>
          <a:r>
            <a:rPr lang="en-US" sz="2400" kern="1200" dirty="0">
              <a:solidFill>
                <a:schemeClr val="tx1"/>
              </a:solidFill>
            </a:rPr>
            <a:t> 226</a:t>
          </a:r>
          <a:endParaRPr lang="en-ID" sz="2400" kern="1200" dirty="0">
            <a:solidFill>
              <a:schemeClr val="tx1"/>
            </a:solidFill>
          </a:endParaRPr>
        </a:p>
      </dsp:txBody>
      <dsp:txXfrm>
        <a:off x="22725" y="1442980"/>
        <a:ext cx="1919517" cy="442716"/>
      </dsp:txXfrm>
    </dsp:sp>
    <dsp:sp modelId="{BE92B7AB-A0DE-41A7-A2B0-17D8A24424D9}">
      <dsp:nvSpPr>
        <dsp:cNvPr id="0" name=""/>
        <dsp:cNvSpPr/>
      </dsp:nvSpPr>
      <dsp:spPr>
        <a:xfrm>
          <a:off x="0" y="1885696"/>
          <a:ext cx="7557569" cy="9310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err="1"/>
            <a:t>Pelimpahan</a:t>
          </a:r>
          <a:r>
            <a:rPr lang="en-US" sz="1900" kern="1200" dirty="0"/>
            <a:t> </a:t>
          </a:r>
          <a:r>
            <a:rPr lang="en-US" sz="1900" kern="1200" dirty="0" err="1"/>
            <a:t>kewenangan</a:t>
          </a:r>
          <a:r>
            <a:rPr lang="en-US" sz="1900" kern="1200" dirty="0"/>
            <a:t> </a:t>
          </a:r>
          <a:r>
            <a:rPr lang="en-US" sz="1900" kern="1200" dirty="0" err="1"/>
            <a:t>bupati</a:t>
          </a:r>
          <a:r>
            <a:rPr lang="en-US" sz="1900" kern="1200" dirty="0"/>
            <a:t>/</a:t>
          </a:r>
          <a:r>
            <a:rPr lang="en-US" sz="1900" kern="1200" dirty="0" err="1"/>
            <a:t>wali</a:t>
          </a:r>
          <a:r>
            <a:rPr lang="en-US" sz="1900" kern="1200" dirty="0"/>
            <a:t> </a:t>
          </a:r>
          <a:r>
            <a:rPr lang="en-US" sz="1900" kern="1200" dirty="0" err="1"/>
            <a:t>kota</a:t>
          </a:r>
          <a:r>
            <a:rPr lang="en-US" sz="1900" kern="1200" dirty="0"/>
            <a:t> </a:t>
          </a:r>
          <a:r>
            <a:rPr lang="en-US" sz="1900" kern="1200" dirty="0" err="1"/>
            <a:t>dilakukan</a:t>
          </a:r>
          <a:r>
            <a:rPr lang="en-US" sz="1900" kern="1200" dirty="0"/>
            <a:t> </a:t>
          </a:r>
          <a:r>
            <a:rPr lang="en-US" sz="1900" kern="1200" dirty="0" err="1"/>
            <a:t>berdasarkan</a:t>
          </a:r>
          <a:r>
            <a:rPr lang="en-US" sz="1900" kern="1200" dirty="0"/>
            <a:t> </a:t>
          </a:r>
          <a:r>
            <a:rPr lang="en-US" sz="1900" kern="1200" dirty="0" err="1"/>
            <a:t>pemetaan</a:t>
          </a:r>
          <a:r>
            <a:rPr lang="en-US" sz="1900" kern="1200" dirty="0"/>
            <a:t> </a:t>
          </a:r>
          <a:r>
            <a:rPr lang="en-US" sz="1900" kern="1200" dirty="0" err="1"/>
            <a:t>pelayanan</a:t>
          </a:r>
          <a:r>
            <a:rPr lang="en-US" sz="1900" kern="1200" dirty="0"/>
            <a:t> </a:t>
          </a:r>
          <a:r>
            <a:rPr lang="en-US" sz="1900" kern="1200" dirty="0" err="1"/>
            <a:t>publik</a:t>
          </a:r>
          <a:r>
            <a:rPr lang="en-US" sz="1900" kern="1200" dirty="0"/>
            <a:t> yang </a:t>
          </a:r>
          <a:r>
            <a:rPr lang="en-US" sz="1900" kern="1200" dirty="0" err="1"/>
            <a:t>sesuai</a:t>
          </a:r>
          <a:r>
            <a:rPr lang="en-US" sz="1900" kern="1200" dirty="0"/>
            <a:t> </a:t>
          </a:r>
          <a:r>
            <a:rPr lang="en-US" sz="1900" kern="1200" dirty="0" err="1"/>
            <a:t>dengan</a:t>
          </a:r>
          <a:r>
            <a:rPr lang="en-US" sz="1900" kern="1200" dirty="0"/>
            <a:t> </a:t>
          </a:r>
          <a:r>
            <a:rPr lang="en-US" sz="1900" kern="1200" dirty="0" err="1"/>
            <a:t>karakteristik</a:t>
          </a:r>
          <a:r>
            <a:rPr lang="en-US" sz="1900" kern="1200" dirty="0"/>
            <a:t> </a:t>
          </a:r>
          <a:r>
            <a:rPr lang="en-US" sz="1900" kern="1200" dirty="0" err="1"/>
            <a:t>kecamatan</a:t>
          </a:r>
          <a:r>
            <a:rPr lang="en-US" sz="1900" kern="1200" dirty="0"/>
            <a:t> dan/</a:t>
          </a:r>
          <a:r>
            <a:rPr lang="en-US" sz="1900" kern="1200" dirty="0" err="1"/>
            <a:t>atau</a:t>
          </a:r>
          <a:r>
            <a:rPr lang="en-US" sz="1900" kern="1200" dirty="0"/>
            <a:t> </a:t>
          </a:r>
          <a:r>
            <a:rPr lang="en-US" sz="1900" kern="1200" dirty="0" err="1"/>
            <a:t>kebutuhan</a:t>
          </a:r>
          <a:r>
            <a:rPr lang="en-US" sz="1900" kern="1200" dirty="0"/>
            <a:t> </a:t>
          </a:r>
          <a:r>
            <a:rPr lang="en-US" sz="1900" kern="1200" dirty="0" err="1"/>
            <a:t>masyarakat</a:t>
          </a:r>
          <a:r>
            <a:rPr lang="en-US" sz="1900" kern="1200" dirty="0"/>
            <a:t> pada </a:t>
          </a:r>
          <a:r>
            <a:rPr lang="en-US" sz="1900" kern="1200" dirty="0" err="1"/>
            <a:t>kecamatan</a:t>
          </a:r>
          <a:r>
            <a:rPr lang="en-US" sz="1900" kern="1200" dirty="0"/>
            <a:t> yang </a:t>
          </a:r>
          <a:r>
            <a:rPr lang="en-US" sz="1900" kern="1200" dirty="0" err="1"/>
            <a:t>bersangkutan</a:t>
          </a:r>
          <a:endParaRPr lang="en-ID" sz="1900" kern="1200" dirty="0"/>
        </a:p>
      </dsp:txBody>
      <dsp:txXfrm>
        <a:off x="0" y="1885696"/>
        <a:ext cx="7557569" cy="931022"/>
      </dsp:txXfrm>
    </dsp:sp>
    <dsp:sp modelId="{6ED4DB38-C595-4F92-886F-1623B5865665}">
      <dsp:nvSpPr>
        <dsp:cNvPr id="0" name=""/>
        <dsp:cNvSpPr/>
      </dsp:nvSpPr>
      <dsp:spPr>
        <a:xfrm>
          <a:off x="1964967" y="2839990"/>
          <a:ext cx="5592601" cy="4654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Ayat (3)</a:t>
          </a:r>
          <a:endParaRPr lang="en-ID" sz="2400" kern="1200" dirty="0"/>
        </a:p>
      </dsp:txBody>
      <dsp:txXfrm>
        <a:off x="1964967" y="2839990"/>
        <a:ext cx="5592601" cy="465441"/>
      </dsp:txXfrm>
    </dsp:sp>
    <dsp:sp modelId="{181770C6-F91B-4969-BD7A-BF7B20CEDB14}">
      <dsp:nvSpPr>
        <dsp:cNvPr id="0" name=""/>
        <dsp:cNvSpPr/>
      </dsp:nvSpPr>
      <dsp:spPr>
        <a:xfrm>
          <a:off x="0" y="2839990"/>
          <a:ext cx="1964967" cy="465441"/>
        </a:xfrm>
        <a:prstGeom prst="round2SameRect">
          <a:avLst>
            <a:gd name="adj1" fmla="val 16670"/>
            <a:gd name="adj2" fmla="val 0"/>
          </a:avLst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>
              <a:alpha val="90000"/>
              <a:hueOff val="0"/>
              <a:satOff val="0"/>
              <a:lumOff val="0"/>
              <a:alphaOff val="-4000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>
              <a:solidFill>
                <a:schemeClr val="tx1"/>
              </a:solidFill>
            </a:rPr>
            <a:t>Pasal</a:t>
          </a:r>
          <a:r>
            <a:rPr lang="en-US" sz="2400" kern="1200" dirty="0">
              <a:solidFill>
                <a:schemeClr val="tx1"/>
              </a:solidFill>
            </a:rPr>
            <a:t> 226</a:t>
          </a:r>
          <a:endParaRPr lang="en-ID" sz="2400" kern="1200" dirty="0">
            <a:solidFill>
              <a:schemeClr val="tx1"/>
            </a:solidFill>
          </a:endParaRPr>
        </a:p>
      </dsp:txBody>
      <dsp:txXfrm>
        <a:off x="22725" y="2862715"/>
        <a:ext cx="1919517" cy="442716"/>
      </dsp:txXfrm>
    </dsp:sp>
    <dsp:sp modelId="{F13D5F97-4C5D-4B16-992F-309FA7787B3F}">
      <dsp:nvSpPr>
        <dsp:cNvPr id="0" name=""/>
        <dsp:cNvSpPr/>
      </dsp:nvSpPr>
      <dsp:spPr>
        <a:xfrm>
          <a:off x="0" y="3305432"/>
          <a:ext cx="7557569" cy="9310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err="1"/>
            <a:t>Pelimpahan</a:t>
          </a:r>
          <a:r>
            <a:rPr lang="en-US" sz="1900" kern="1200" dirty="0"/>
            <a:t> </a:t>
          </a:r>
          <a:r>
            <a:rPr lang="en-US" sz="1900" kern="1200" dirty="0" err="1"/>
            <a:t>kewenangan</a:t>
          </a:r>
          <a:r>
            <a:rPr lang="en-US" sz="1900" kern="1200" dirty="0"/>
            <a:t> </a:t>
          </a:r>
          <a:r>
            <a:rPr lang="en-US" sz="1900" kern="1200" dirty="0" err="1"/>
            <a:t>bupati</a:t>
          </a:r>
          <a:r>
            <a:rPr lang="en-US" sz="1900" kern="1200" dirty="0"/>
            <a:t>/</a:t>
          </a:r>
          <a:r>
            <a:rPr lang="en-US" sz="1900" kern="1200" dirty="0" err="1"/>
            <a:t>wali</a:t>
          </a:r>
          <a:r>
            <a:rPr lang="en-US" sz="1900" kern="1200" dirty="0"/>
            <a:t> </a:t>
          </a:r>
          <a:r>
            <a:rPr lang="en-US" sz="1900" kern="1200" dirty="0" err="1"/>
            <a:t>kota</a:t>
          </a:r>
          <a:r>
            <a:rPr lang="en-US" sz="1900" kern="1200" dirty="0"/>
            <a:t> </a:t>
          </a:r>
          <a:r>
            <a:rPr lang="en-US" sz="1900" kern="1200" dirty="0" err="1"/>
            <a:t>ditetapkan</a:t>
          </a:r>
          <a:r>
            <a:rPr lang="en-US" sz="1900" kern="1200" dirty="0"/>
            <a:t> </a:t>
          </a:r>
          <a:r>
            <a:rPr lang="en-US" sz="1900" kern="1200" dirty="0" err="1"/>
            <a:t>dengan</a:t>
          </a:r>
          <a:r>
            <a:rPr lang="en-US" sz="1900" kern="1200" dirty="0"/>
            <a:t> </a:t>
          </a:r>
          <a:r>
            <a:rPr lang="en-US" sz="1900" kern="1200" dirty="0" err="1"/>
            <a:t>keputusan</a:t>
          </a:r>
          <a:r>
            <a:rPr lang="en-US" sz="1900" kern="1200" dirty="0"/>
            <a:t> </a:t>
          </a:r>
          <a:r>
            <a:rPr lang="en-US" sz="1900" kern="1200" dirty="0" err="1"/>
            <a:t>bupati</a:t>
          </a:r>
          <a:r>
            <a:rPr lang="en-US" sz="1900" kern="1200" dirty="0"/>
            <a:t>/</a:t>
          </a:r>
          <a:r>
            <a:rPr lang="en-US" sz="1900" kern="1200" dirty="0" err="1"/>
            <a:t>wali</a:t>
          </a:r>
          <a:r>
            <a:rPr lang="en-US" sz="1900" kern="1200" dirty="0"/>
            <a:t> </a:t>
          </a:r>
          <a:r>
            <a:rPr lang="en-US" sz="1900" kern="1200" dirty="0" err="1"/>
            <a:t>kota</a:t>
          </a:r>
          <a:r>
            <a:rPr lang="en-US" sz="1900" kern="1200" dirty="0"/>
            <a:t> </a:t>
          </a:r>
          <a:r>
            <a:rPr lang="en-US" sz="1900" kern="1200" dirty="0" err="1"/>
            <a:t>berpedoman</a:t>
          </a:r>
          <a:r>
            <a:rPr lang="en-US" sz="1900" kern="1200" dirty="0"/>
            <a:t> pada </a:t>
          </a:r>
          <a:r>
            <a:rPr lang="en-US" sz="1900" kern="1200" dirty="0" err="1"/>
            <a:t>peraturan</a:t>
          </a:r>
          <a:r>
            <a:rPr lang="en-US" sz="1900" kern="1200" dirty="0"/>
            <a:t> </a:t>
          </a:r>
          <a:r>
            <a:rPr lang="en-US" sz="1900" kern="1200" dirty="0" err="1"/>
            <a:t>pemerintah</a:t>
          </a:r>
          <a:endParaRPr lang="en-ID" sz="1900" kern="1200" dirty="0"/>
        </a:p>
      </dsp:txBody>
      <dsp:txXfrm>
        <a:off x="0" y="3305432"/>
        <a:ext cx="7557569" cy="9310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EBAE4D-3D42-45FC-B630-9E8816E2D467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EFF753-C2AD-4064-86AF-767AC19C47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15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data'&gt;Data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0CBE7-02BB-4549-B5A3-EA15828C4C6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089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9" name="Google Shape;5159;g571f33f51b_6_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60" name="Google Shape;5160;g571f33f51b_6_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60005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llustration by </a:t>
            </a:r>
            <a:r>
              <a:rPr lang="en-ID" dirty="0">
                <a:hlinkClick r:id="rId3"/>
              </a:rPr>
              <a:t>https://www.freepik.com</a:t>
            </a:r>
            <a:endParaRPr lang="en-ID" dirty="0"/>
          </a:p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9B4502-2270-4FF2-A65A-23E33C2CAEF1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542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5718C-8D67-43CD-9B90-1F545131DA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5D1B3A-8D36-41E1-906B-D5ABCCA346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14FB93-1E7C-45F7-9FD3-569992DFD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B2F7B7-A8A5-4915-8904-DF030208A1E1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8685CD-B12E-4B79-A686-04DA1D82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6992EA-8F81-4A38-A439-A5D4C4D4B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004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286C9-70C6-4DC4-AF06-9187FCF20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18BB3E-65CF-45CD-891D-8182C1D9A0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9CEA08-A303-411B-A61C-B55F6E325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BB05F-890A-4F3F-93F9-5A2B31F14A75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259520-D69D-40A1-9271-1F32A5692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52E602-7ABC-4FED-B452-A712B1997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820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E6E634B-AA3E-446C-947E-B2348FD13A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19ACF2-B762-4938-8D38-F59EF5454A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514EEB-A636-4831-9C01-B0497677E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4052F8-2704-46F4-9C2C-4EC37D62B8EA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2C0B4-82BE-4551-A94C-7E585423E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5B4981-4C97-478B-8FB9-ECE4ACC7D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330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750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7669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9516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3752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540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221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106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C87FADD-5E49-4CBF-AF28-EDDE572285AA}"/>
              </a:ext>
            </a:extLst>
          </p:cNvPr>
          <p:cNvGrpSpPr/>
          <p:nvPr userDrawn="1"/>
        </p:nvGrpSpPr>
        <p:grpSpPr>
          <a:xfrm>
            <a:off x="5450206" y="12668"/>
            <a:ext cx="6735543" cy="4844649"/>
            <a:chOff x="8034510" y="750981"/>
            <a:chExt cx="6735543" cy="4844649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D757649F-8C83-4DCC-810D-AC11FC85E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153821" y="901261"/>
              <a:ext cx="6496921" cy="4544088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9907937-2D7F-486A-BEE5-089547CB5D63}"/>
                </a:ext>
              </a:extLst>
            </p:cNvPr>
            <p:cNvSpPr/>
            <p:nvPr/>
          </p:nvSpPr>
          <p:spPr>
            <a:xfrm>
              <a:off x="8034510" y="750981"/>
              <a:ext cx="6735543" cy="4844649"/>
            </a:xfrm>
            <a:prstGeom prst="rect">
              <a:avLst/>
            </a:prstGeom>
            <a:solidFill>
              <a:schemeClr val="bg1">
                <a:alpha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Freeform 5">
            <a:extLst>
              <a:ext uri="{FF2B5EF4-FFF2-40B4-BE49-F238E27FC236}">
                <a16:creationId xmlns:a16="http://schemas.microsoft.com/office/drawing/2014/main" id="{0CA91239-CCC9-45FD-8D1E-CA9A3DFC415C}"/>
              </a:ext>
            </a:extLst>
          </p:cNvPr>
          <p:cNvSpPr>
            <a:spLocks/>
          </p:cNvSpPr>
          <p:nvPr userDrawn="1"/>
        </p:nvSpPr>
        <p:spPr bwMode="auto">
          <a:xfrm rot="10800000" flipH="1">
            <a:off x="10693400" y="5932422"/>
            <a:ext cx="1854200" cy="1851156"/>
          </a:xfrm>
          <a:custGeom>
            <a:avLst/>
            <a:gdLst>
              <a:gd name="T0" fmla="*/ 1354 w 1620"/>
              <a:gd name="T1" fmla="*/ 1619 h 1619"/>
              <a:gd name="T2" fmla="*/ 827 w 1620"/>
              <a:gd name="T3" fmla="*/ 1513 h 1619"/>
              <a:gd name="T4" fmla="*/ 396 w 1620"/>
              <a:gd name="T5" fmla="*/ 1223 h 1619"/>
              <a:gd name="T6" fmla="*/ 106 w 1620"/>
              <a:gd name="T7" fmla="*/ 793 h 1619"/>
              <a:gd name="T8" fmla="*/ 0 w 1620"/>
              <a:gd name="T9" fmla="*/ 266 h 1619"/>
              <a:gd name="T10" fmla="*/ 266 w 1620"/>
              <a:gd name="T11" fmla="*/ 0 h 1619"/>
              <a:gd name="T12" fmla="*/ 532 w 1620"/>
              <a:gd name="T13" fmla="*/ 266 h 1619"/>
              <a:gd name="T14" fmla="*/ 1354 w 1620"/>
              <a:gd name="T15" fmla="*/ 1087 h 1619"/>
              <a:gd name="T16" fmla="*/ 1620 w 1620"/>
              <a:gd name="T17" fmla="*/ 1353 h 1619"/>
              <a:gd name="T18" fmla="*/ 1354 w 1620"/>
              <a:gd name="T19" fmla="*/ 1619 h 16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20" h="1619">
                <a:moveTo>
                  <a:pt x="1354" y="1619"/>
                </a:moveTo>
                <a:cubicBezTo>
                  <a:pt x="1171" y="1619"/>
                  <a:pt x="994" y="1584"/>
                  <a:pt x="827" y="1513"/>
                </a:cubicBezTo>
                <a:cubicBezTo>
                  <a:pt x="665" y="1445"/>
                  <a:pt x="521" y="1347"/>
                  <a:pt x="396" y="1223"/>
                </a:cubicBezTo>
                <a:cubicBezTo>
                  <a:pt x="272" y="1099"/>
                  <a:pt x="175" y="954"/>
                  <a:pt x="106" y="793"/>
                </a:cubicBezTo>
                <a:cubicBezTo>
                  <a:pt x="36" y="626"/>
                  <a:pt x="0" y="448"/>
                  <a:pt x="0" y="266"/>
                </a:cubicBezTo>
                <a:cubicBezTo>
                  <a:pt x="0" y="119"/>
                  <a:pt x="119" y="0"/>
                  <a:pt x="266" y="0"/>
                </a:cubicBezTo>
                <a:cubicBezTo>
                  <a:pt x="413" y="0"/>
                  <a:pt x="532" y="119"/>
                  <a:pt x="532" y="266"/>
                </a:cubicBezTo>
                <a:cubicBezTo>
                  <a:pt x="532" y="719"/>
                  <a:pt x="901" y="1087"/>
                  <a:pt x="1354" y="1087"/>
                </a:cubicBezTo>
                <a:cubicBezTo>
                  <a:pt x="1501" y="1087"/>
                  <a:pt x="1620" y="1206"/>
                  <a:pt x="1620" y="1353"/>
                </a:cubicBezTo>
                <a:cubicBezTo>
                  <a:pt x="1620" y="1500"/>
                  <a:pt x="1501" y="1619"/>
                  <a:pt x="1354" y="161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1000">
                <a:srgbClr val="EB523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4493024-83EF-4CE6-AF87-80B96C58A6DB}"/>
              </a:ext>
            </a:extLst>
          </p:cNvPr>
          <p:cNvSpPr>
            <a:spLocks/>
          </p:cNvSpPr>
          <p:nvPr userDrawn="1"/>
        </p:nvSpPr>
        <p:spPr bwMode="auto">
          <a:xfrm rot="17178977">
            <a:off x="-551636" y="-480782"/>
            <a:ext cx="1385492" cy="1383220"/>
          </a:xfrm>
          <a:custGeom>
            <a:avLst/>
            <a:gdLst>
              <a:gd name="T0" fmla="*/ 1354 w 1620"/>
              <a:gd name="T1" fmla="*/ 1619 h 1619"/>
              <a:gd name="T2" fmla="*/ 827 w 1620"/>
              <a:gd name="T3" fmla="*/ 1513 h 1619"/>
              <a:gd name="T4" fmla="*/ 396 w 1620"/>
              <a:gd name="T5" fmla="*/ 1223 h 1619"/>
              <a:gd name="T6" fmla="*/ 106 w 1620"/>
              <a:gd name="T7" fmla="*/ 793 h 1619"/>
              <a:gd name="T8" fmla="*/ 0 w 1620"/>
              <a:gd name="T9" fmla="*/ 266 h 1619"/>
              <a:gd name="T10" fmla="*/ 266 w 1620"/>
              <a:gd name="T11" fmla="*/ 0 h 1619"/>
              <a:gd name="T12" fmla="*/ 532 w 1620"/>
              <a:gd name="T13" fmla="*/ 266 h 1619"/>
              <a:gd name="T14" fmla="*/ 1354 w 1620"/>
              <a:gd name="T15" fmla="*/ 1087 h 1619"/>
              <a:gd name="T16" fmla="*/ 1620 w 1620"/>
              <a:gd name="T17" fmla="*/ 1353 h 1619"/>
              <a:gd name="T18" fmla="*/ 1354 w 1620"/>
              <a:gd name="T19" fmla="*/ 1619 h 16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620" h="1619">
                <a:moveTo>
                  <a:pt x="1354" y="1619"/>
                </a:moveTo>
                <a:cubicBezTo>
                  <a:pt x="1171" y="1619"/>
                  <a:pt x="994" y="1584"/>
                  <a:pt x="827" y="1513"/>
                </a:cubicBezTo>
                <a:cubicBezTo>
                  <a:pt x="665" y="1445"/>
                  <a:pt x="521" y="1347"/>
                  <a:pt x="396" y="1223"/>
                </a:cubicBezTo>
                <a:cubicBezTo>
                  <a:pt x="272" y="1099"/>
                  <a:pt x="175" y="954"/>
                  <a:pt x="106" y="793"/>
                </a:cubicBezTo>
                <a:cubicBezTo>
                  <a:pt x="36" y="626"/>
                  <a:pt x="0" y="448"/>
                  <a:pt x="0" y="266"/>
                </a:cubicBezTo>
                <a:cubicBezTo>
                  <a:pt x="0" y="119"/>
                  <a:pt x="119" y="0"/>
                  <a:pt x="266" y="0"/>
                </a:cubicBezTo>
                <a:cubicBezTo>
                  <a:pt x="413" y="0"/>
                  <a:pt x="532" y="119"/>
                  <a:pt x="532" y="266"/>
                </a:cubicBezTo>
                <a:cubicBezTo>
                  <a:pt x="532" y="719"/>
                  <a:pt x="901" y="1087"/>
                  <a:pt x="1354" y="1087"/>
                </a:cubicBezTo>
                <a:cubicBezTo>
                  <a:pt x="1501" y="1087"/>
                  <a:pt x="1620" y="1206"/>
                  <a:pt x="1620" y="1353"/>
                </a:cubicBezTo>
                <a:cubicBezTo>
                  <a:pt x="1620" y="1500"/>
                  <a:pt x="1501" y="1619"/>
                  <a:pt x="1354" y="1619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1000">
                <a:srgbClr val="26AA83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97862-A6AA-4426-8EFA-E1F0082B9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92099"/>
            <a:ext cx="11023600" cy="777875"/>
          </a:xfrm>
        </p:spPr>
        <p:txBody>
          <a:bodyPr/>
          <a:lstStyle>
            <a:lvl1pPr>
              <a:defRPr b="1">
                <a:solidFill>
                  <a:srgbClr val="22202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9EDC53-A444-4EBA-9845-5641F8B2B7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200" y="1443830"/>
            <a:ext cx="11023600" cy="4538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863711-2F8A-4071-BA89-2403F0AC9A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200" y="6356350"/>
            <a:ext cx="2743200" cy="365125"/>
          </a:xfrm>
        </p:spPr>
        <p:txBody>
          <a:bodyPr/>
          <a:lstStyle/>
          <a:p>
            <a:fld id="{213E9384-6FA0-4EFB-9E50-B90B631BDEDA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7074A-24C6-442A-A2DC-D6B899E7E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EA2CF-2A0A-45B8-B191-4DFF35C68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0"/>
            <a:ext cx="2743200" cy="36512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3653A8B8-0320-463C-9CFC-F3F813B668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03226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51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4221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4524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14587" y="1199135"/>
            <a:ext cx="51054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234679" y="1766061"/>
            <a:ext cx="38091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4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61350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F255D-07B4-42D7-9127-C8F35EBE5B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CA5BF5-8595-4D2A-963A-12B7BC4181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23AEF6-FD11-4ED5-8A7A-666C70110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8C112-E094-4D0E-B12F-659296916D21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73D07B-0FE4-4436-B417-E1EC5FC19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1EF970-6949-4F2C-9825-8EC15DCA3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063694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0994E2-37B7-4ADC-84F0-2FB6BD5B9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92D941-5AC7-410B-A30D-3834BAD014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9AB81E-A928-49CE-976B-18EF8E254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37815-1DFD-4BFD-B8DF-58AA3F1A5ECD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3CD019-6E2D-4DAA-A50F-330DC1C43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33586C-D268-4A97-9FB4-ED08C4D10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504506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ACA7F-4B1D-4264-AA44-460130719D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EEABC4-4645-4F85-823C-B558DF9287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14274B-BF5C-4899-B3F7-48241F980D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624235-F239-4A03-8800-77AB93EBD8EB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D2E1A3-951C-4759-944D-2D918A1A9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B50F7-5C3D-4E54-AE23-AF67AF0DD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565328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DD0BD-338F-41A0-9C33-845FA12CD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AC5F6D-8113-4E2D-9CA7-C85D3CB6F8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E6077C-DDA6-40F1-AFEE-48BBC3CCD4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776F2F-1763-43F1-A078-9F2F0CD8C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EE2D1-E3E2-4192-8931-EEB64124239A}" type="datetime1">
              <a:rPr lang="en-ID" smtClean="0"/>
              <a:t>24/07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57A879-062B-4F07-9253-18E2C1998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6DC072-EEE3-402A-A9B7-C668D4713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245573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5C30D-4ECD-48EE-A774-53844F980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0E971E-EF06-47E2-BB18-FFE93C1358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ACE2D9-F65E-417E-B105-1026079AAE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ADD468-5D0B-4948-8A3F-1BD4D3AE5C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82BF6B-2C1D-4C8A-9735-075152F092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F0C224-CA2A-4AF4-A996-4FD82BA30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1DFC4-2046-410D-9A3F-EF64EB77F1E9}" type="datetime1">
              <a:rPr lang="en-ID" smtClean="0"/>
              <a:t>24/07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41C0B8-DB70-49BB-9738-0FBA49B24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079B079-981E-4760-A3E6-30DACC70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16466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6094A-1F87-40C8-8FFD-671BB1AD6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53C6AE-5F81-4701-A6BB-B91F401BD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8CAE3-383B-45DB-916C-3006E2D56605}" type="datetime1">
              <a:rPr lang="en-ID" smtClean="0"/>
              <a:t>24/07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D96D16-3C02-4029-9A35-914B6AAB5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400E9-2C25-4029-A988-ABA2A8372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91257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E9DB4-C2FA-4384-A815-C5462A333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241095-5D6B-49DF-9FDE-897256CC17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4C99FC-B9D2-414D-B7BC-51F59B428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384E4-60E5-45E5-9B9F-FF6375291FFF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253C37-79BC-45ED-8B98-13D4CCB64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EA603B-969D-488D-9703-AD66F07B5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5911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E66011-D0C0-45E9-9C90-E6B1C420D4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E3E9B-F010-4409-B094-11EA361530B3}" type="datetime1">
              <a:rPr lang="en-ID" smtClean="0"/>
              <a:t>24/07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018841-6495-46E6-98B2-E9C66134F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B5CCC8-65F7-4EC6-8995-F15F4B243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589928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5AAE68-DB0E-4404-A830-3CA9FABB0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54B8FB-C4ED-457A-8B5B-DDC776EAA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8ED796-DAF0-4BE5-ACF6-40B4FF72E0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D7AC00-BBAC-41DB-9F4D-AB76E34EC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3EEE2-952A-422A-85D2-01B03755A53F}" type="datetime1">
              <a:rPr lang="en-ID" smtClean="0"/>
              <a:t>24/07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1EE2B-2CDB-4FCC-9234-20EB31D76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F472D3-5906-4F41-8727-316185BDE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792887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18C80-9ED2-4B29-AE6C-36BE7538C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FE9521-6D3C-4CCF-A0BF-CC8C18551B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8F5267-CE48-4487-B888-428A27220C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B3E603-4F90-4607-B29F-52CECB901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20619-3EDE-4D8C-B5D6-87667EF3C8A2}" type="datetime1">
              <a:rPr lang="en-ID" smtClean="0"/>
              <a:t>24/07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5DE4AB-749E-46A5-98D1-89097BFD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8FD1B9-8594-4276-8AF4-82D136C7F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65623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AF1D6-73F6-4F00-B864-42C2728A2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499359-7810-4D20-95EC-CC4A99F986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64220D-3DAD-43DC-936B-069514BA50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E5F1C-8A74-4267-9D86-496DAC141FBF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9FAE7-1842-48C4-B3DE-B7443BF40B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2AC31B-26B9-4FF6-A1E2-B20BA6A42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973883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72BC01-7C51-4E90-A19B-E6DCFA8362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0C6F3A-E1C9-497E-941D-9BCB0CAEE1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BE4D7-1005-4917-8288-E3DE6983D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2AF1F-82B3-46EF-B20D-9DFF0F2A49CA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8224E5-4E87-46D9-86A9-3585F67A9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A0A4AB-8171-4EA6-AD8D-B320DE95C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877370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8342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0989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1363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6196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7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4C8C0-2629-46E8-87D7-07258F9C6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BBAF92-118A-43D4-9ADB-DD35D07A2E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659598-3E01-467F-BAA1-DC9ED8DD6D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F5EFC9-8DFE-45EE-944F-C9E59899B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4042C2-33C1-4A29-B87F-A82A49FE9EA9}" type="datetime1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E34E05-374B-49C0-B4EC-7FD90A565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521AFE-2B2D-4BC9-B550-33DBCA5E5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479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045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647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0463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2683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1019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7747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design 1">
  <p:cSld name="Title + design 1">
    <p:bg>
      <p:bgPr>
        <a:solidFill>
          <a:srgbClr val="EFEFEF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4"/>
          <p:cNvSpPr/>
          <p:nvPr/>
        </p:nvSpPr>
        <p:spPr>
          <a:xfrm flipH="1">
            <a:off x="10340400" y="741333"/>
            <a:ext cx="1851600" cy="316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8" name="Google Shape;98;p14"/>
          <p:cNvSpPr txBox="1">
            <a:spLocks noGrp="1"/>
          </p:cNvSpPr>
          <p:nvPr>
            <p:ph type="ctrTitle"/>
          </p:nvPr>
        </p:nvSpPr>
        <p:spPr>
          <a:xfrm flipH="1">
            <a:off x="7926000" y="489067"/>
            <a:ext cx="3001200" cy="6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solidFill>
                  <a:schemeClr val="accent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62BCBE"/>
              </a:buClr>
              <a:buSzPts val="2400"/>
              <a:buFont typeface="Josefin Sans"/>
              <a:buNone/>
              <a:defRPr sz="3200" b="1">
                <a:solidFill>
                  <a:srgbClr val="62BCBE"/>
                </a:solidFill>
                <a:latin typeface="Josefin Sans"/>
                <a:ea typeface="Josefin Sans"/>
                <a:cs typeface="Josefin Sans"/>
                <a:sym typeface="Josefin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31429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D9AD9-16A1-4085-91D1-D2D97F6BCB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6B828E-1EE7-47B2-BAF5-363E38DA96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D0A16A-5AFB-43C1-814E-3CD9F4353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3CB282-2E3F-463F-A288-F58404827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F42D5-A270-4C30-8E64-B2A442EBF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09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4E04F-A5CA-4A22-A167-D31FB7AAC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F64680-5ADB-4FC1-9981-0BE26534CD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749EA3-6DA2-4364-8914-EAC2DA240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E21550-F6A3-4734-9D4E-F569D688D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3FDE71-8B39-492D-99FE-4B030BBE1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7070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520A6-9D8C-412C-9081-1D07C3DA0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E125B6-634A-402F-97B2-1F174942FF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456067-A2AD-4987-A98C-7CC6175948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5E8EB9-BB0B-4AA7-9880-03DC076FB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2A91C-F8A6-4729-B6D5-0C3133206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2509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6A1E0-B73B-4769-9E84-123239BFF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3288D3-ED21-4D73-ABEB-28E4103BAD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26940A-3FD9-433A-A250-04AE9A6FC1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00E78C-5A1D-4B79-B195-7B94FA8677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3C0021-49EA-419E-9045-9EAEA3DA24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13D94A-CA5A-448A-9179-5D30BD1B2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252CD-775E-43A4-8708-F6BA2845F86D}" type="datetime1">
              <a:rPr lang="en-US" smtClean="0"/>
              <a:t>7/2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587748-F73C-410D-94C0-59BE877A0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C6CC29-D692-4191-848E-780C1C303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5025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FC6FD-EA64-4076-B817-6928C6285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4CC0C-1AB3-4322-A74F-BCDAD66791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E44E6F-C2A9-4FE0-8C9D-B9B5221A0B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2A8B6F-9CF3-4D77-A3DB-1626BBB77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5348CF-D378-48AD-BD2B-02995E199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78E60E-3FD2-419F-A5CD-184EB85BB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5638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CC16C-1E8C-4B54-811E-DB90638DB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592CE4-CB48-44D4-B68E-716A3FAD1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2707B7-C4C1-4D17-AB68-A7CFDF5964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F36FF-E201-4964-8DBC-C82E4F52E6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A98CB2-DCA6-419E-AE70-BFFB0D6E00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933320-9BA4-4D32-BF55-98C096236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3B5157-7FA1-4E6D-8CF8-518635788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B70274-7B03-41E7-B764-A63885545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3924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CE5BF7-7A28-4FF8-A122-417169D59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6BA166-A168-4C57-AA60-7D67B6B60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29EEED-F079-4641-9E91-748EF82D9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2E531F-F906-497D-8D63-B42A3043D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6892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5F693D-FF20-4364-872C-B012D84ED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2BC05A-82DE-4F7C-AEC3-FF95092DA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9AB80C-567B-4F27-8746-36095D9F3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9304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3BDFC-2B2A-4840-B5C9-969A2893F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EB8D03-B688-4090-BD26-9FDCB13E8A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720842-D509-4C34-9BBB-DA00A3AD30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F66575-FDD9-49A0-8196-64C14982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DCB61-C652-4488-ABDB-247CFFC8F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5D2286-6046-4320-9EC8-2BC23B7E6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727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59C16-AF2D-4E9C-A82E-D02AFCA9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838BA6-8E0F-4447-B280-DDD3EA084D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E41354-D1C8-4200-9C6D-AB44A0A56E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497773-93A2-4481-B415-1351B6554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46A95-3BAD-4299-9F62-073D542247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DEC22D-8790-4A82-889A-1C076A879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5155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751A1-ACCD-436E-85E9-45DD18AAC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62C70C-6DAF-4CA0-AE58-D729B06182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726DA-3941-47F3-AC2D-49192026B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BD83F0-6A38-45F6-8D19-2A3A456E2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89FCAB-A0EE-490F-8D1C-EB337D91B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2550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8E5AD3-FCF7-48B6-B37A-D35E3EC12C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755E47-3FA9-47D4-9A46-37DAA8B176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8AE0B0-A52A-4428-9B2A-E466AD06B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5E83C-D914-443C-85ED-440382AE0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50714-AC3E-490F-B218-1F6C5EFE6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294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636B7-6D36-4380-8454-7D469A52A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1414A7-D95E-473D-8864-9684E63AF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51A2-2BC0-4E00-8216-3EF31B62D6CF}" type="datetime1">
              <a:rPr lang="en-US" smtClean="0"/>
              <a:t>7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B15C6-8D91-45B0-BB1E-7CCDA52DA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B62F65-80F8-4FF4-944E-68D401B3F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87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D521B6F-4C7C-4784-976B-E549359254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45629F-F259-463F-8763-D6FBFA555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B5C50-09B1-4A45-8C4D-C420BB25C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907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81457-6621-49F0-B946-04BBEED8C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F843B5-60F4-4E3B-ABFB-08FFA7ED68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055C66-640C-4FCD-9757-111D5BFCE7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41C89A-92E7-4216-B2BB-A355410A0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93FDA9-A32B-49C5-B36F-DCACE8F0F592}" type="datetime1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54C444-9178-4AE0-BCA1-A63E62A4C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C8D48E-9529-44C9-B61B-8D441E142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694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DD35C-9846-4B5E-91AD-55F10CD0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BFD026-5078-455D-8399-B93EC73D3A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FFB908-5564-4B1C-B2CC-42AB89D9A0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374562-3B62-4183-9FD3-D79EFCEF4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6288D-91D9-4ED4-8FA8-75CBB74BD7A4}" type="datetime1">
              <a:rPr lang="en-US" smtClean="0"/>
              <a:t>7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6FECC9-2BF2-4706-BAAE-5AECD2CA1B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5793A6-80D1-4A96-B363-500761EED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242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E8F0381-74DF-4812-B856-354D04114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4E888C-BAD0-4B1D-9CE0-63FB360F76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B6E3BF-FEDE-4399-8DBF-0A37973562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A47ACB-2F0F-4287-9E81-BE9F2E94C1BA}" type="datetime1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BEC643-0BD5-4E55-A545-6DEF4C39BF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3FAEC-4434-419A-8A07-19BE2CBF4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3A8B8-0320-463C-9CFC-F3F813B668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517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1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4B20D1-FE9C-4E1F-9D16-EBF4AB1E187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55655C-09CD-488F-9BAC-35FDCB044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41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F68B55-2365-4BFA-939B-3923ED00B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C0E1EC-3EC4-4ABA-BAF8-92EA0AB8D4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312342-71D3-4F4F-82EE-FCE225D48A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FCACBB-82CE-4F49-AA78-B711FDE55FD3}" type="datetime1">
              <a:rPr lang="en-ID" smtClean="0"/>
              <a:t>24/07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E879E-BED5-4BA9-A717-64AC9F7A6D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919E17-B567-45AB-B846-38BA67182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7E3FB8-0FCA-4859-887F-6071C85651C0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6119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0459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86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133137-EAAC-417C-AE38-9265F1E7DE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B0999A-4DB4-4AB5-9672-F7C3C3623D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B75403-D2B9-47F2-B8AB-7CCCCA4C43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13383-EE07-4969-9B07-761D27C57D14}" type="datetimeFigureOut">
              <a:rPr lang="en-US" smtClean="0"/>
              <a:t>7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B62890-48A6-4D9D-ACC0-FF9F19ABB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B97F5-333D-4D45-B126-E2146BAB2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422C54-87D3-4C96-99E4-6E65A620F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27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sv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E471EC-04FA-4B70-9479-752D36794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E471EC-04FA-4B70-9479-752D36794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" name="Isosceles Triangle 367">
            <a:extLst>
              <a:ext uri="{FF2B5EF4-FFF2-40B4-BE49-F238E27FC236}">
                <a16:creationId xmlns:a16="http://schemas.microsoft.com/office/drawing/2014/main" id="{EB4E217E-995D-4207-AE56-FE9F213C8BFE}"/>
              </a:ext>
            </a:extLst>
          </p:cNvPr>
          <p:cNvSpPr/>
          <p:nvPr/>
        </p:nvSpPr>
        <p:spPr>
          <a:xfrm flipV="1">
            <a:off x="7924800" y="-3"/>
            <a:ext cx="4267200" cy="3360855"/>
          </a:xfrm>
          <a:prstGeom prst="triangle">
            <a:avLst>
              <a:gd name="adj" fmla="val 100000"/>
            </a:avLst>
          </a:prstGeom>
          <a:solidFill>
            <a:srgbClr val="69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7" name="Isosceles Triangle 366">
            <a:extLst>
              <a:ext uri="{FF2B5EF4-FFF2-40B4-BE49-F238E27FC236}">
                <a16:creationId xmlns:a16="http://schemas.microsoft.com/office/drawing/2014/main" id="{A7F8354B-C961-40CE-B050-ACEAFA5BAE44}"/>
              </a:ext>
            </a:extLst>
          </p:cNvPr>
          <p:cNvSpPr/>
          <p:nvPr/>
        </p:nvSpPr>
        <p:spPr>
          <a:xfrm>
            <a:off x="5084704" y="0"/>
            <a:ext cx="7107295" cy="6858000"/>
          </a:xfrm>
          <a:prstGeom prst="triangle">
            <a:avLst>
              <a:gd name="adj" fmla="val 100000"/>
            </a:avLst>
          </a:prstGeom>
          <a:solidFill>
            <a:srgbClr val="2C8DBF"/>
          </a:solidFill>
          <a:ln>
            <a:noFill/>
          </a:ln>
          <a:effectLst>
            <a:innerShdw blurRad="127000" dist="50800" dir="135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712F6C2-F8F8-41F5-8000-AB6AD27D65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36311" y="1841500"/>
            <a:ext cx="6482637" cy="3898227"/>
            <a:chOff x="150" y="514"/>
            <a:chExt cx="6449" cy="3878"/>
          </a:xfrm>
        </p:grpSpPr>
        <p:grpSp>
          <p:nvGrpSpPr>
            <p:cNvPr id="13" name="Group 205">
              <a:extLst>
                <a:ext uri="{FF2B5EF4-FFF2-40B4-BE49-F238E27FC236}">
                  <a16:creationId xmlns:a16="http://schemas.microsoft.com/office/drawing/2014/main" id="{DA20913C-3D9F-464B-9132-04455F0EE0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0" y="514"/>
              <a:ext cx="6449" cy="3878"/>
              <a:chOff x="150" y="514"/>
              <a:chExt cx="6449" cy="3878"/>
            </a:xfrm>
          </p:grpSpPr>
          <p:sp>
            <p:nvSpPr>
              <p:cNvPr id="167" name="Rectangle 5">
                <a:extLst>
                  <a:ext uri="{FF2B5EF4-FFF2-40B4-BE49-F238E27FC236}">
                    <a16:creationId xmlns:a16="http://schemas.microsoft.com/office/drawing/2014/main" id="{247152B1-3746-4FB6-8E84-6C62A36A0A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2910"/>
                <a:ext cx="399" cy="5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Oval 6">
                <a:extLst>
                  <a:ext uri="{FF2B5EF4-FFF2-40B4-BE49-F238E27FC236}">
                    <a16:creationId xmlns:a16="http://schemas.microsoft.com/office/drawing/2014/main" id="{791D3FA2-978D-4FB8-813D-E740E2AB6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93" y="2910"/>
                <a:ext cx="4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Oval 7">
                <a:extLst>
                  <a:ext uri="{FF2B5EF4-FFF2-40B4-BE49-F238E27FC236}">
                    <a16:creationId xmlns:a16="http://schemas.microsoft.com/office/drawing/2014/main" id="{BCCBA78A-26C4-42FC-A31E-0E582E200E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Oval 8">
                <a:extLst>
                  <a:ext uri="{FF2B5EF4-FFF2-40B4-BE49-F238E27FC236}">
                    <a16:creationId xmlns:a16="http://schemas.microsoft.com/office/drawing/2014/main" id="{819C91D1-A319-45EF-872A-7211977704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6" y="2910"/>
                <a:ext cx="5" cy="52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9">
                <a:extLst>
                  <a:ext uri="{FF2B5EF4-FFF2-40B4-BE49-F238E27FC236}">
                    <a16:creationId xmlns:a16="http://schemas.microsoft.com/office/drawing/2014/main" id="{17F5C83D-CD78-40AD-A5C0-D32A13FB2D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" y="2910"/>
                <a:ext cx="5" cy="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Oval 10">
                <a:extLst>
                  <a:ext uri="{FF2B5EF4-FFF2-40B4-BE49-F238E27FC236}">
                    <a16:creationId xmlns:a16="http://schemas.microsoft.com/office/drawing/2014/main" id="{3962B4B0-80AE-40DA-9238-D70C8FBA1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2" y="2934"/>
                <a:ext cx="205" cy="7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11">
                <a:extLst>
                  <a:ext uri="{FF2B5EF4-FFF2-40B4-BE49-F238E27FC236}">
                    <a16:creationId xmlns:a16="http://schemas.microsoft.com/office/drawing/2014/main" id="{2F4F774D-27BE-4128-9251-3135B9141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8" y="3150"/>
                <a:ext cx="399" cy="10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FF3A4C04-DF50-496A-A0BA-BD4E943DE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8" y="3157"/>
                <a:ext cx="403" cy="95"/>
              </a:xfrm>
              <a:custGeom>
                <a:avLst/>
                <a:gdLst>
                  <a:gd name="T0" fmla="*/ 170 w 170"/>
                  <a:gd name="T1" fmla="*/ 29 h 40"/>
                  <a:gd name="T2" fmla="*/ 169 w 170"/>
                  <a:gd name="T3" fmla="*/ 30 h 40"/>
                  <a:gd name="T4" fmla="*/ 167 w 170"/>
                  <a:gd name="T5" fmla="*/ 31 h 40"/>
                  <a:gd name="T6" fmla="*/ 155 w 170"/>
                  <a:gd name="T7" fmla="*/ 34 h 40"/>
                  <a:gd name="T8" fmla="*/ 137 w 170"/>
                  <a:gd name="T9" fmla="*/ 31 h 40"/>
                  <a:gd name="T10" fmla="*/ 128 w 170"/>
                  <a:gd name="T11" fmla="*/ 23 h 40"/>
                  <a:gd name="T12" fmla="*/ 125 w 170"/>
                  <a:gd name="T13" fmla="*/ 11 h 40"/>
                  <a:gd name="T14" fmla="*/ 128 w 170"/>
                  <a:gd name="T15" fmla="*/ 4 h 40"/>
                  <a:gd name="T16" fmla="*/ 135 w 170"/>
                  <a:gd name="T17" fmla="*/ 1 h 40"/>
                  <a:gd name="T18" fmla="*/ 142 w 170"/>
                  <a:gd name="T19" fmla="*/ 4 h 40"/>
                  <a:gd name="T20" fmla="*/ 145 w 170"/>
                  <a:gd name="T21" fmla="*/ 12 h 40"/>
                  <a:gd name="T22" fmla="*/ 140 w 170"/>
                  <a:gd name="T23" fmla="*/ 28 h 40"/>
                  <a:gd name="T24" fmla="*/ 124 w 170"/>
                  <a:gd name="T25" fmla="*/ 36 h 40"/>
                  <a:gd name="T26" fmla="*/ 105 w 170"/>
                  <a:gd name="T27" fmla="*/ 34 h 40"/>
                  <a:gd name="T28" fmla="*/ 88 w 170"/>
                  <a:gd name="T29" fmla="*/ 23 h 40"/>
                  <a:gd name="T30" fmla="*/ 85 w 170"/>
                  <a:gd name="T31" fmla="*/ 13 h 40"/>
                  <a:gd name="T32" fmla="*/ 88 w 170"/>
                  <a:gd name="T33" fmla="*/ 3 h 40"/>
                  <a:gd name="T34" fmla="*/ 93 w 170"/>
                  <a:gd name="T35" fmla="*/ 0 h 40"/>
                  <a:gd name="T36" fmla="*/ 99 w 170"/>
                  <a:gd name="T37" fmla="*/ 2 h 40"/>
                  <a:gd name="T38" fmla="*/ 105 w 170"/>
                  <a:gd name="T39" fmla="*/ 11 h 40"/>
                  <a:gd name="T40" fmla="*/ 98 w 170"/>
                  <a:gd name="T41" fmla="*/ 31 h 40"/>
                  <a:gd name="T42" fmla="*/ 79 w 170"/>
                  <a:gd name="T43" fmla="*/ 39 h 40"/>
                  <a:gd name="T44" fmla="*/ 60 w 170"/>
                  <a:gd name="T45" fmla="*/ 37 h 40"/>
                  <a:gd name="T46" fmla="*/ 45 w 170"/>
                  <a:gd name="T47" fmla="*/ 25 h 40"/>
                  <a:gd name="T48" fmla="*/ 43 w 170"/>
                  <a:gd name="T49" fmla="*/ 7 h 40"/>
                  <a:gd name="T50" fmla="*/ 50 w 170"/>
                  <a:gd name="T51" fmla="*/ 1 h 40"/>
                  <a:gd name="T52" fmla="*/ 58 w 170"/>
                  <a:gd name="T53" fmla="*/ 3 h 40"/>
                  <a:gd name="T54" fmla="*/ 62 w 170"/>
                  <a:gd name="T55" fmla="*/ 19 h 40"/>
                  <a:gd name="T56" fmla="*/ 54 w 170"/>
                  <a:gd name="T57" fmla="*/ 31 h 40"/>
                  <a:gd name="T58" fmla="*/ 31 w 170"/>
                  <a:gd name="T59" fmla="*/ 39 h 40"/>
                  <a:gd name="T60" fmla="*/ 13 w 170"/>
                  <a:gd name="T61" fmla="*/ 35 h 40"/>
                  <a:gd name="T62" fmla="*/ 3 w 170"/>
                  <a:gd name="T63" fmla="*/ 28 h 40"/>
                  <a:gd name="T64" fmla="*/ 1 w 170"/>
                  <a:gd name="T65" fmla="*/ 26 h 40"/>
                  <a:gd name="T66" fmla="*/ 0 w 170"/>
                  <a:gd name="T67" fmla="*/ 25 h 40"/>
                  <a:gd name="T68" fmla="*/ 13 w 170"/>
                  <a:gd name="T69" fmla="*/ 35 h 40"/>
                  <a:gd name="T70" fmla="*/ 31 w 170"/>
                  <a:gd name="T71" fmla="*/ 38 h 40"/>
                  <a:gd name="T72" fmla="*/ 53 w 170"/>
                  <a:gd name="T73" fmla="*/ 29 h 40"/>
                  <a:gd name="T74" fmla="*/ 61 w 170"/>
                  <a:gd name="T75" fmla="*/ 18 h 40"/>
                  <a:gd name="T76" fmla="*/ 57 w 170"/>
                  <a:gd name="T77" fmla="*/ 5 h 40"/>
                  <a:gd name="T78" fmla="*/ 50 w 170"/>
                  <a:gd name="T79" fmla="*/ 3 h 40"/>
                  <a:gd name="T80" fmla="*/ 45 w 170"/>
                  <a:gd name="T81" fmla="*/ 8 h 40"/>
                  <a:gd name="T82" fmla="*/ 47 w 170"/>
                  <a:gd name="T83" fmla="*/ 24 h 40"/>
                  <a:gd name="T84" fmla="*/ 61 w 170"/>
                  <a:gd name="T85" fmla="*/ 35 h 40"/>
                  <a:gd name="T86" fmla="*/ 79 w 170"/>
                  <a:gd name="T87" fmla="*/ 37 h 40"/>
                  <a:gd name="T88" fmla="*/ 97 w 170"/>
                  <a:gd name="T89" fmla="*/ 29 h 40"/>
                  <a:gd name="T90" fmla="*/ 103 w 170"/>
                  <a:gd name="T91" fmla="*/ 12 h 40"/>
                  <a:gd name="T92" fmla="*/ 98 w 170"/>
                  <a:gd name="T93" fmla="*/ 4 h 40"/>
                  <a:gd name="T94" fmla="*/ 90 w 170"/>
                  <a:gd name="T95" fmla="*/ 4 h 40"/>
                  <a:gd name="T96" fmla="*/ 87 w 170"/>
                  <a:gd name="T97" fmla="*/ 13 h 40"/>
                  <a:gd name="T98" fmla="*/ 90 w 170"/>
                  <a:gd name="T99" fmla="*/ 21 h 40"/>
                  <a:gd name="T100" fmla="*/ 105 w 170"/>
                  <a:gd name="T101" fmla="*/ 32 h 40"/>
                  <a:gd name="T102" fmla="*/ 123 w 170"/>
                  <a:gd name="T103" fmla="*/ 34 h 40"/>
                  <a:gd name="T104" fmla="*/ 138 w 170"/>
                  <a:gd name="T105" fmla="*/ 27 h 40"/>
                  <a:gd name="T106" fmla="*/ 144 w 170"/>
                  <a:gd name="T107" fmla="*/ 12 h 40"/>
                  <a:gd name="T108" fmla="*/ 135 w 170"/>
                  <a:gd name="T109" fmla="*/ 2 h 40"/>
                  <a:gd name="T110" fmla="*/ 129 w 170"/>
                  <a:gd name="T111" fmla="*/ 5 h 40"/>
                  <a:gd name="T112" fmla="*/ 126 w 170"/>
                  <a:gd name="T113" fmla="*/ 11 h 40"/>
                  <a:gd name="T114" fmla="*/ 129 w 170"/>
                  <a:gd name="T115" fmla="*/ 23 h 40"/>
                  <a:gd name="T116" fmla="*/ 137 w 170"/>
                  <a:gd name="T117" fmla="*/ 30 h 40"/>
                  <a:gd name="T118" fmla="*/ 155 w 170"/>
                  <a:gd name="T119" fmla="*/ 33 h 40"/>
                  <a:gd name="T120" fmla="*/ 166 w 170"/>
                  <a:gd name="T121" fmla="*/ 30 h 40"/>
                  <a:gd name="T122" fmla="*/ 170 w 170"/>
                  <a:gd name="T123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0" h="40">
                    <a:moveTo>
                      <a:pt x="170" y="29"/>
                    </a:moveTo>
                    <a:cubicBezTo>
                      <a:pt x="170" y="29"/>
                      <a:pt x="170" y="29"/>
                      <a:pt x="169" y="30"/>
                    </a:cubicBezTo>
                    <a:cubicBezTo>
                      <a:pt x="169" y="30"/>
                      <a:pt x="168" y="30"/>
                      <a:pt x="167" y="31"/>
                    </a:cubicBezTo>
                    <a:cubicBezTo>
                      <a:pt x="164" y="32"/>
                      <a:pt x="160" y="33"/>
                      <a:pt x="155" y="34"/>
                    </a:cubicBezTo>
                    <a:cubicBezTo>
                      <a:pt x="150" y="35"/>
                      <a:pt x="143" y="35"/>
                      <a:pt x="137" y="31"/>
                    </a:cubicBezTo>
                    <a:cubicBezTo>
                      <a:pt x="133" y="30"/>
                      <a:pt x="130" y="27"/>
                      <a:pt x="128" y="23"/>
                    </a:cubicBezTo>
                    <a:cubicBezTo>
                      <a:pt x="126" y="20"/>
                      <a:pt x="124" y="15"/>
                      <a:pt x="125" y="11"/>
                    </a:cubicBezTo>
                    <a:cubicBezTo>
                      <a:pt x="125" y="8"/>
                      <a:pt x="126" y="6"/>
                      <a:pt x="128" y="4"/>
                    </a:cubicBezTo>
                    <a:cubicBezTo>
                      <a:pt x="130" y="2"/>
                      <a:pt x="132" y="0"/>
                      <a:pt x="135" y="1"/>
                    </a:cubicBezTo>
                    <a:cubicBezTo>
                      <a:pt x="138" y="1"/>
                      <a:pt x="140" y="2"/>
                      <a:pt x="142" y="4"/>
                    </a:cubicBezTo>
                    <a:cubicBezTo>
                      <a:pt x="144" y="7"/>
                      <a:pt x="145" y="9"/>
                      <a:pt x="145" y="12"/>
                    </a:cubicBezTo>
                    <a:cubicBezTo>
                      <a:pt x="146" y="18"/>
                      <a:pt x="144" y="24"/>
                      <a:pt x="140" y="28"/>
                    </a:cubicBezTo>
                    <a:cubicBezTo>
                      <a:pt x="136" y="33"/>
                      <a:pt x="130" y="35"/>
                      <a:pt x="124" y="36"/>
                    </a:cubicBezTo>
                    <a:cubicBezTo>
                      <a:pt x="117" y="37"/>
                      <a:pt x="111" y="36"/>
                      <a:pt x="105" y="34"/>
                    </a:cubicBezTo>
                    <a:cubicBezTo>
                      <a:pt x="99" y="32"/>
                      <a:pt x="93" y="28"/>
                      <a:pt x="88" y="23"/>
                    </a:cubicBezTo>
                    <a:cubicBezTo>
                      <a:pt x="86" y="20"/>
                      <a:pt x="85" y="16"/>
                      <a:pt x="85" y="13"/>
                    </a:cubicBezTo>
                    <a:cubicBezTo>
                      <a:pt x="84" y="9"/>
                      <a:pt x="85" y="5"/>
                      <a:pt x="88" y="3"/>
                    </a:cubicBezTo>
                    <a:cubicBezTo>
                      <a:pt x="89" y="1"/>
                      <a:pt x="91" y="1"/>
                      <a:pt x="93" y="0"/>
                    </a:cubicBezTo>
                    <a:cubicBezTo>
                      <a:pt x="95" y="0"/>
                      <a:pt x="97" y="1"/>
                      <a:pt x="99" y="2"/>
                    </a:cubicBezTo>
                    <a:cubicBezTo>
                      <a:pt x="102" y="4"/>
                      <a:pt x="104" y="7"/>
                      <a:pt x="105" y="11"/>
                    </a:cubicBezTo>
                    <a:cubicBezTo>
                      <a:pt x="107" y="18"/>
                      <a:pt x="104" y="26"/>
                      <a:pt x="98" y="31"/>
                    </a:cubicBezTo>
                    <a:cubicBezTo>
                      <a:pt x="93" y="36"/>
                      <a:pt x="86" y="38"/>
                      <a:pt x="79" y="39"/>
                    </a:cubicBezTo>
                    <a:cubicBezTo>
                      <a:pt x="73" y="39"/>
                      <a:pt x="66" y="39"/>
                      <a:pt x="60" y="37"/>
                    </a:cubicBezTo>
                    <a:cubicBezTo>
                      <a:pt x="54" y="35"/>
                      <a:pt x="48" y="31"/>
                      <a:pt x="45" y="25"/>
                    </a:cubicBezTo>
                    <a:cubicBezTo>
                      <a:pt x="42" y="20"/>
                      <a:pt x="41" y="13"/>
                      <a:pt x="43" y="7"/>
                    </a:cubicBezTo>
                    <a:cubicBezTo>
                      <a:pt x="44" y="4"/>
                      <a:pt x="47" y="2"/>
                      <a:pt x="50" y="1"/>
                    </a:cubicBezTo>
                    <a:cubicBezTo>
                      <a:pt x="53" y="1"/>
                      <a:pt x="56" y="2"/>
                      <a:pt x="58" y="3"/>
                    </a:cubicBezTo>
                    <a:cubicBezTo>
                      <a:pt x="63" y="7"/>
                      <a:pt x="64" y="14"/>
                      <a:pt x="62" y="19"/>
                    </a:cubicBezTo>
                    <a:cubicBezTo>
                      <a:pt x="61" y="24"/>
                      <a:pt x="57" y="28"/>
                      <a:pt x="54" y="31"/>
                    </a:cubicBezTo>
                    <a:cubicBezTo>
                      <a:pt x="47" y="37"/>
                      <a:pt x="38" y="39"/>
                      <a:pt x="31" y="39"/>
                    </a:cubicBezTo>
                    <a:cubicBezTo>
                      <a:pt x="23" y="40"/>
                      <a:pt x="17" y="38"/>
                      <a:pt x="13" y="35"/>
                    </a:cubicBezTo>
                    <a:cubicBezTo>
                      <a:pt x="8" y="33"/>
                      <a:pt x="5" y="30"/>
                      <a:pt x="3" y="28"/>
                    </a:cubicBezTo>
                    <a:cubicBezTo>
                      <a:pt x="2" y="27"/>
                      <a:pt x="1" y="27"/>
                      <a:pt x="1" y="26"/>
                    </a:cubicBezTo>
                    <a:cubicBezTo>
                      <a:pt x="1" y="25"/>
                      <a:pt x="0" y="25"/>
                      <a:pt x="0" y="25"/>
                    </a:cubicBezTo>
                    <a:cubicBezTo>
                      <a:pt x="1" y="25"/>
                      <a:pt x="4" y="30"/>
                      <a:pt x="13" y="35"/>
                    </a:cubicBezTo>
                    <a:cubicBezTo>
                      <a:pt x="17" y="37"/>
                      <a:pt x="24" y="39"/>
                      <a:pt x="31" y="38"/>
                    </a:cubicBezTo>
                    <a:cubicBezTo>
                      <a:pt x="38" y="38"/>
                      <a:pt x="46" y="35"/>
                      <a:pt x="53" y="29"/>
                    </a:cubicBezTo>
                    <a:cubicBezTo>
                      <a:pt x="56" y="26"/>
                      <a:pt x="59" y="23"/>
                      <a:pt x="61" y="18"/>
                    </a:cubicBezTo>
                    <a:cubicBezTo>
                      <a:pt x="62" y="14"/>
                      <a:pt x="61" y="8"/>
                      <a:pt x="57" y="5"/>
                    </a:cubicBezTo>
                    <a:cubicBezTo>
                      <a:pt x="55" y="3"/>
                      <a:pt x="53" y="3"/>
                      <a:pt x="50" y="3"/>
                    </a:cubicBezTo>
                    <a:cubicBezTo>
                      <a:pt x="48" y="4"/>
                      <a:pt x="46" y="5"/>
                      <a:pt x="45" y="8"/>
                    </a:cubicBezTo>
                    <a:cubicBezTo>
                      <a:pt x="43" y="13"/>
                      <a:pt x="44" y="19"/>
                      <a:pt x="47" y="24"/>
                    </a:cubicBezTo>
                    <a:cubicBezTo>
                      <a:pt x="50" y="29"/>
                      <a:pt x="55" y="33"/>
                      <a:pt x="61" y="35"/>
                    </a:cubicBezTo>
                    <a:cubicBezTo>
                      <a:pt x="66" y="37"/>
                      <a:pt x="73" y="37"/>
                      <a:pt x="79" y="37"/>
                    </a:cubicBezTo>
                    <a:cubicBezTo>
                      <a:pt x="86" y="36"/>
                      <a:pt x="92" y="34"/>
                      <a:pt x="97" y="29"/>
                    </a:cubicBezTo>
                    <a:cubicBezTo>
                      <a:pt x="102" y="25"/>
                      <a:pt x="104" y="18"/>
                      <a:pt x="103" y="12"/>
                    </a:cubicBezTo>
                    <a:cubicBezTo>
                      <a:pt x="102" y="8"/>
                      <a:pt x="100" y="5"/>
                      <a:pt x="98" y="4"/>
                    </a:cubicBezTo>
                    <a:cubicBezTo>
                      <a:pt x="95" y="2"/>
                      <a:pt x="92" y="2"/>
                      <a:pt x="90" y="4"/>
                    </a:cubicBezTo>
                    <a:cubicBezTo>
                      <a:pt x="87" y="6"/>
                      <a:pt x="86" y="10"/>
                      <a:pt x="87" y="13"/>
                    </a:cubicBezTo>
                    <a:cubicBezTo>
                      <a:pt x="87" y="16"/>
                      <a:pt x="88" y="19"/>
                      <a:pt x="90" y="21"/>
                    </a:cubicBezTo>
                    <a:cubicBezTo>
                      <a:pt x="94" y="26"/>
                      <a:pt x="100" y="30"/>
                      <a:pt x="105" y="32"/>
                    </a:cubicBezTo>
                    <a:cubicBezTo>
                      <a:pt x="111" y="34"/>
                      <a:pt x="117" y="35"/>
                      <a:pt x="123" y="34"/>
                    </a:cubicBezTo>
                    <a:cubicBezTo>
                      <a:pt x="129" y="33"/>
                      <a:pt x="135" y="31"/>
                      <a:pt x="138" y="27"/>
                    </a:cubicBezTo>
                    <a:cubicBezTo>
                      <a:pt x="142" y="23"/>
                      <a:pt x="144" y="17"/>
                      <a:pt x="144" y="12"/>
                    </a:cubicBezTo>
                    <a:cubicBezTo>
                      <a:pt x="143" y="7"/>
                      <a:pt x="140" y="3"/>
                      <a:pt x="135" y="2"/>
                    </a:cubicBezTo>
                    <a:cubicBezTo>
                      <a:pt x="133" y="2"/>
                      <a:pt x="131" y="3"/>
                      <a:pt x="129" y="5"/>
                    </a:cubicBezTo>
                    <a:cubicBezTo>
                      <a:pt x="128" y="7"/>
                      <a:pt x="127" y="9"/>
                      <a:pt x="126" y="11"/>
                    </a:cubicBezTo>
                    <a:cubicBezTo>
                      <a:pt x="126" y="15"/>
                      <a:pt x="127" y="19"/>
                      <a:pt x="129" y="23"/>
                    </a:cubicBezTo>
                    <a:cubicBezTo>
                      <a:pt x="131" y="26"/>
                      <a:pt x="134" y="29"/>
                      <a:pt x="137" y="30"/>
                    </a:cubicBezTo>
                    <a:cubicBezTo>
                      <a:pt x="144" y="34"/>
                      <a:pt x="150" y="34"/>
                      <a:pt x="155" y="33"/>
                    </a:cubicBezTo>
                    <a:cubicBezTo>
                      <a:pt x="160" y="33"/>
                      <a:pt x="164" y="31"/>
                      <a:pt x="166" y="30"/>
                    </a:cubicBezTo>
                    <a:cubicBezTo>
                      <a:pt x="169" y="29"/>
                      <a:pt x="170" y="29"/>
                      <a:pt x="170" y="29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Rectangle 13">
                <a:extLst>
                  <a:ext uri="{FF2B5EF4-FFF2-40B4-BE49-F238E27FC236}">
                    <a16:creationId xmlns:a16="http://schemas.microsoft.com/office/drawing/2014/main" id="{C3957662-1DE1-46AD-9626-079F5F468C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65"/>
                <a:ext cx="363" cy="185"/>
              </a:xfrm>
              <a:prstGeom prst="rect">
                <a:avLst/>
              </a:pr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14">
                <a:extLst>
                  <a:ext uri="{FF2B5EF4-FFF2-40B4-BE49-F238E27FC236}">
                    <a16:creationId xmlns:a16="http://schemas.microsoft.com/office/drawing/2014/main" id="{BCE1DD75-9954-4910-B1CE-6FC6F0586E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1" y="2969"/>
                <a:ext cx="7" cy="18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Oval 15">
                <a:extLst>
                  <a:ext uri="{FF2B5EF4-FFF2-40B4-BE49-F238E27FC236}">
                    <a16:creationId xmlns:a16="http://schemas.microsoft.com/office/drawing/2014/main" id="{AD4A8940-9809-4A24-9F86-B25AB56DB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9" y="2967"/>
                <a:ext cx="5" cy="178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Oval 16">
                <a:extLst>
                  <a:ext uri="{FF2B5EF4-FFF2-40B4-BE49-F238E27FC236}">
                    <a16:creationId xmlns:a16="http://schemas.microsoft.com/office/drawing/2014/main" id="{8DF09904-DA04-4F2C-92C3-D2F11A627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4" y="2962"/>
                <a:ext cx="5" cy="18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Oval 17">
                <a:extLst>
                  <a:ext uri="{FF2B5EF4-FFF2-40B4-BE49-F238E27FC236}">
                    <a16:creationId xmlns:a16="http://schemas.microsoft.com/office/drawing/2014/main" id="{0A4C27AA-DA47-40D2-87DC-662D6BEF1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1" y="2965"/>
                <a:ext cx="5" cy="18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Rectangle 18">
                <a:extLst>
                  <a:ext uri="{FF2B5EF4-FFF2-40B4-BE49-F238E27FC236}">
                    <a16:creationId xmlns:a16="http://schemas.microsoft.com/office/drawing/2014/main" id="{442C9745-F63C-4B9D-9E46-A2C9BE2B8B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19">
                <a:extLst>
                  <a:ext uri="{FF2B5EF4-FFF2-40B4-BE49-F238E27FC236}">
                    <a16:creationId xmlns:a16="http://schemas.microsoft.com/office/drawing/2014/main" id="{07FA873E-AFE0-48EA-AB8B-3F075EEAA8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0" y="856"/>
                <a:ext cx="2451" cy="16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E26A3495-3E9E-4DB5-9E45-4B3784BF72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0" y="547"/>
                <a:ext cx="837" cy="843"/>
              </a:xfrm>
              <a:custGeom>
                <a:avLst/>
                <a:gdLst>
                  <a:gd name="T0" fmla="*/ 1 w 353"/>
                  <a:gd name="T1" fmla="*/ 180 h 355"/>
                  <a:gd name="T2" fmla="*/ 174 w 353"/>
                  <a:gd name="T3" fmla="*/ 1 h 355"/>
                  <a:gd name="T4" fmla="*/ 351 w 353"/>
                  <a:gd name="T5" fmla="*/ 174 h 355"/>
                  <a:gd name="T6" fmla="*/ 179 w 353"/>
                  <a:gd name="T7" fmla="*/ 353 h 355"/>
                  <a:gd name="T8" fmla="*/ 1 w 353"/>
                  <a:gd name="T9" fmla="*/ 180 h 355"/>
                  <a:gd name="T10" fmla="*/ 260 w 353"/>
                  <a:gd name="T11" fmla="*/ 176 h 355"/>
                  <a:gd name="T12" fmla="*/ 175 w 353"/>
                  <a:gd name="T13" fmla="*/ 93 h 355"/>
                  <a:gd name="T14" fmla="*/ 93 w 353"/>
                  <a:gd name="T15" fmla="*/ 179 h 355"/>
                  <a:gd name="T16" fmla="*/ 178 w 353"/>
                  <a:gd name="T17" fmla="*/ 261 h 355"/>
                  <a:gd name="T18" fmla="*/ 260 w 353"/>
                  <a:gd name="T19" fmla="*/ 176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3" h="355">
                    <a:moveTo>
                      <a:pt x="1" y="180"/>
                    </a:moveTo>
                    <a:cubicBezTo>
                      <a:pt x="0" y="83"/>
                      <a:pt x="77" y="3"/>
                      <a:pt x="174" y="1"/>
                    </a:cubicBezTo>
                    <a:cubicBezTo>
                      <a:pt x="270" y="0"/>
                      <a:pt x="350" y="77"/>
                      <a:pt x="351" y="174"/>
                    </a:cubicBezTo>
                    <a:cubicBezTo>
                      <a:pt x="353" y="271"/>
                      <a:pt x="276" y="351"/>
                      <a:pt x="179" y="353"/>
                    </a:cubicBezTo>
                    <a:cubicBezTo>
                      <a:pt x="83" y="355"/>
                      <a:pt x="3" y="277"/>
                      <a:pt x="1" y="180"/>
                    </a:cubicBezTo>
                    <a:close/>
                    <a:moveTo>
                      <a:pt x="260" y="176"/>
                    </a:moveTo>
                    <a:cubicBezTo>
                      <a:pt x="259" y="130"/>
                      <a:pt x="221" y="92"/>
                      <a:pt x="175" y="93"/>
                    </a:cubicBezTo>
                    <a:cubicBezTo>
                      <a:pt x="129" y="94"/>
                      <a:pt x="92" y="132"/>
                      <a:pt x="93" y="179"/>
                    </a:cubicBezTo>
                    <a:cubicBezTo>
                      <a:pt x="93" y="225"/>
                      <a:pt x="132" y="262"/>
                      <a:pt x="178" y="261"/>
                    </a:cubicBezTo>
                    <a:cubicBezTo>
                      <a:pt x="224" y="261"/>
                      <a:pt x="261" y="222"/>
                      <a:pt x="260" y="176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A5189E1C-8CDD-4393-8BDE-16DD82A7D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" y="549"/>
                <a:ext cx="424" cy="841"/>
              </a:xfrm>
              <a:custGeom>
                <a:avLst/>
                <a:gdLst>
                  <a:gd name="T0" fmla="*/ 1 w 179"/>
                  <a:gd name="T1" fmla="*/ 179 h 354"/>
                  <a:gd name="T2" fmla="*/ 174 w 179"/>
                  <a:gd name="T3" fmla="*/ 0 h 354"/>
                  <a:gd name="T4" fmla="*/ 175 w 179"/>
                  <a:gd name="T5" fmla="*/ 92 h 354"/>
                  <a:gd name="T6" fmla="*/ 93 w 179"/>
                  <a:gd name="T7" fmla="*/ 178 h 354"/>
                  <a:gd name="T8" fmla="*/ 178 w 179"/>
                  <a:gd name="T9" fmla="*/ 260 h 354"/>
                  <a:gd name="T10" fmla="*/ 179 w 179"/>
                  <a:gd name="T11" fmla="*/ 352 h 354"/>
                  <a:gd name="T12" fmla="*/ 1 w 179"/>
                  <a:gd name="T13" fmla="*/ 17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9" h="354">
                    <a:moveTo>
                      <a:pt x="1" y="179"/>
                    </a:moveTo>
                    <a:cubicBezTo>
                      <a:pt x="0" y="82"/>
                      <a:pt x="77" y="2"/>
                      <a:pt x="174" y="0"/>
                    </a:cubicBezTo>
                    <a:cubicBezTo>
                      <a:pt x="175" y="92"/>
                      <a:pt x="175" y="92"/>
                      <a:pt x="175" y="92"/>
                    </a:cubicBezTo>
                    <a:cubicBezTo>
                      <a:pt x="129" y="93"/>
                      <a:pt x="92" y="131"/>
                      <a:pt x="93" y="178"/>
                    </a:cubicBezTo>
                    <a:cubicBezTo>
                      <a:pt x="93" y="224"/>
                      <a:pt x="132" y="261"/>
                      <a:pt x="178" y="260"/>
                    </a:cubicBezTo>
                    <a:cubicBezTo>
                      <a:pt x="179" y="352"/>
                      <a:pt x="179" y="352"/>
                      <a:pt x="179" y="352"/>
                    </a:cubicBezTo>
                    <a:cubicBezTo>
                      <a:pt x="83" y="354"/>
                      <a:pt x="3" y="276"/>
                      <a:pt x="1" y="17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C5836302-AFDF-41AB-B327-E6BF0BD55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" y="514"/>
                <a:ext cx="486" cy="479"/>
              </a:xfrm>
              <a:custGeom>
                <a:avLst/>
                <a:gdLst>
                  <a:gd name="T0" fmla="*/ 0 w 205"/>
                  <a:gd name="T1" fmla="*/ 1 h 202"/>
                  <a:gd name="T2" fmla="*/ 205 w 205"/>
                  <a:gd name="T3" fmla="*/ 201 h 202"/>
                  <a:gd name="T4" fmla="*/ 98 w 205"/>
                  <a:gd name="T5" fmla="*/ 202 h 202"/>
                  <a:gd name="T6" fmla="*/ 2 w 205"/>
                  <a:gd name="T7" fmla="*/ 115 h 202"/>
                  <a:gd name="T8" fmla="*/ 0 w 205"/>
                  <a:gd name="T9" fmla="*/ 1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02">
                    <a:moveTo>
                      <a:pt x="0" y="1"/>
                    </a:moveTo>
                    <a:cubicBezTo>
                      <a:pt x="113" y="0"/>
                      <a:pt x="203" y="87"/>
                      <a:pt x="205" y="201"/>
                    </a:cubicBezTo>
                    <a:cubicBezTo>
                      <a:pt x="98" y="202"/>
                      <a:pt x="98" y="202"/>
                      <a:pt x="98" y="202"/>
                    </a:cubicBezTo>
                    <a:cubicBezTo>
                      <a:pt x="97" y="148"/>
                      <a:pt x="56" y="114"/>
                      <a:pt x="2" y="115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06081714-63FB-4011-900B-7FC77D1E3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" y="4093"/>
                <a:ext cx="294" cy="232"/>
              </a:xfrm>
              <a:custGeom>
                <a:avLst/>
                <a:gdLst>
                  <a:gd name="T0" fmla="*/ 14 w 124"/>
                  <a:gd name="T1" fmla="*/ 97 h 98"/>
                  <a:gd name="T2" fmla="*/ 8 w 124"/>
                  <a:gd name="T3" fmla="*/ 66 h 98"/>
                  <a:gd name="T4" fmla="*/ 22 w 124"/>
                  <a:gd name="T5" fmla="*/ 56 h 98"/>
                  <a:gd name="T6" fmla="*/ 38 w 124"/>
                  <a:gd name="T7" fmla="*/ 48 h 98"/>
                  <a:gd name="T8" fmla="*/ 54 w 124"/>
                  <a:gd name="T9" fmla="*/ 19 h 98"/>
                  <a:gd name="T10" fmla="*/ 85 w 124"/>
                  <a:gd name="T11" fmla="*/ 0 h 98"/>
                  <a:gd name="T12" fmla="*/ 118 w 124"/>
                  <a:gd name="T13" fmla="*/ 27 h 98"/>
                  <a:gd name="T14" fmla="*/ 124 w 124"/>
                  <a:gd name="T15" fmla="*/ 70 h 98"/>
                  <a:gd name="T16" fmla="*/ 117 w 124"/>
                  <a:gd name="T17" fmla="*/ 93 h 98"/>
                  <a:gd name="T18" fmla="*/ 96 w 124"/>
                  <a:gd name="T19" fmla="*/ 98 h 98"/>
                  <a:gd name="T20" fmla="*/ 16 w 124"/>
                  <a:gd name="T21" fmla="*/ 9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4" h="98">
                    <a:moveTo>
                      <a:pt x="14" y="97"/>
                    </a:moveTo>
                    <a:cubicBezTo>
                      <a:pt x="10" y="93"/>
                      <a:pt x="0" y="81"/>
                      <a:pt x="8" y="66"/>
                    </a:cubicBezTo>
                    <a:cubicBezTo>
                      <a:pt x="10" y="61"/>
                      <a:pt x="16" y="59"/>
                      <a:pt x="22" y="56"/>
                    </a:cubicBezTo>
                    <a:cubicBezTo>
                      <a:pt x="27" y="54"/>
                      <a:pt x="33" y="52"/>
                      <a:pt x="38" y="48"/>
                    </a:cubicBezTo>
                    <a:cubicBezTo>
                      <a:pt x="46" y="41"/>
                      <a:pt x="48" y="29"/>
                      <a:pt x="54" y="19"/>
                    </a:cubicBezTo>
                    <a:cubicBezTo>
                      <a:pt x="61" y="8"/>
                      <a:pt x="73" y="0"/>
                      <a:pt x="85" y="0"/>
                    </a:cubicBezTo>
                    <a:cubicBezTo>
                      <a:pt x="100" y="1"/>
                      <a:pt x="112" y="13"/>
                      <a:pt x="118" y="27"/>
                    </a:cubicBezTo>
                    <a:cubicBezTo>
                      <a:pt x="123" y="40"/>
                      <a:pt x="124" y="55"/>
                      <a:pt x="124" y="70"/>
                    </a:cubicBezTo>
                    <a:cubicBezTo>
                      <a:pt x="124" y="78"/>
                      <a:pt x="123" y="88"/>
                      <a:pt x="117" y="93"/>
                    </a:cubicBezTo>
                    <a:cubicBezTo>
                      <a:pt x="112" y="98"/>
                      <a:pt x="104" y="98"/>
                      <a:pt x="96" y="98"/>
                    </a:cubicBezTo>
                    <a:cubicBezTo>
                      <a:pt x="69" y="97"/>
                      <a:pt x="43" y="96"/>
                      <a:pt x="16" y="95"/>
                    </a:cubicBezTo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38D10526-FA8E-4139-AB51-C509FF1586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3" y="3801"/>
                <a:ext cx="498" cy="586"/>
              </a:xfrm>
              <a:custGeom>
                <a:avLst/>
                <a:gdLst>
                  <a:gd name="T0" fmla="*/ 0 w 210"/>
                  <a:gd name="T1" fmla="*/ 0 h 247"/>
                  <a:gd name="T2" fmla="*/ 56 w 210"/>
                  <a:gd name="T3" fmla="*/ 246 h 247"/>
                  <a:gd name="T4" fmla="*/ 58 w 210"/>
                  <a:gd name="T5" fmla="*/ 246 h 247"/>
                  <a:gd name="T6" fmla="*/ 63 w 210"/>
                  <a:gd name="T7" fmla="*/ 247 h 247"/>
                  <a:gd name="T8" fmla="*/ 64 w 210"/>
                  <a:gd name="T9" fmla="*/ 247 h 247"/>
                  <a:gd name="T10" fmla="*/ 163 w 210"/>
                  <a:gd name="T11" fmla="*/ 247 h 247"/>
                  <a:gd name="T12" fmla="*/ 202 w 210"/>
                  <a:gd name="T13" fmla="*/ 69 h 247"/>
                  <a:gd name="T14" fmla="*/ 203 w 210"/>
                  <a:gd name="T15" fmla="*/ 63 h 247"/>
                  <a:gd name="T16" fmla="*/ 210 w 210"/>
                  <a:gd name="T17" fmla="*/ 0 h 247"/>
                  <a:gd name="T18" fmla="*/ 149 w 210"/>
                  <a:gd name="T19" fmla="*/ 144 h 247"/>
                  <a:gd name="T20" fmla="*/ 176 w 210"/>
                  <a:gd name="T21" fmla="*/ 78 h 247"/>
                  <a:gd name="T22" fmla="*/ 178 w 210"/>
                  <a:gd name="T23" fmla="*/ 78 h 247"/>
                  <a:gd name="T24" fmla="*/ 191 w 210"/>
                  <a:gd name="T25" fmla="*/ 144 h 247"/>
                  <a:gd name="T26" fmla="*/ 178 w 210"/>
                  <a:gd name="T27" fmla="*/ 78 h 247"/>
                  <a:gd name="T28" fmla="*/ 115 w 210"/>
                  <a:gd name="T29" fmla="*/ 160 h 247"/>
                  <a:gd name="T30" fmla="*/ 145 w 210"/>
                  <a:gd name="T31" fmla="*/ 217 h 247"/>
                  <a:gd name="T32" fmla="*/ 83 w 210"/>
                  <a:gd name="T33" fmla="*/ 160 h 247"/>
                  <a:gd name="T34" fmla="*/ 115 w 210"/>
                  <a:gd name="T35" fmla="*/ 217 h 247"/>
                  <a:gd name="T36" fmla="*/ 83 w 210"/>
                  <a:gd name="T37" fmla="*/ 160 h 247"/>
                  <a:gd name="T38" fmla="*/ 60 w 210"/>
                  <a:gd name="T39" fmla="*/ 217 h 247"/>
                  <a:gd name="T40" fmla="*/ 81 w 210"/>
                  <a:gd name="T41" fmla="*/ 160 h 247"/>
                  <a:gd name="T42" fmla="*/ 82 w 210"/>
                  <a:gd name="T43" fmla="*/ 144 h 247"/>
                  <a:gd name="T44" fmla="*/ 111 w 210"/>
                  <a:gd name="T45" fmla="*/ 78 h 247"/>
                  <a:gd name="T46" fmla="*/ 82 w 210"/>
                  <a:gd name="T47" fmla="*/ 144 h 247"/>
                  <a:gd name="T48" fmla="*/ 114 w 210"/>
                  <a:gd name="T49" fmla="*/ 78 h 247"/>
                  <a:gd name="T50" fmla="*/ 147 w 210"/>
                  <a:gd name="T51" fmla="*/ 144 h 247"/>
                  <a:gd name="T52" fmla="*/ 113 w 210"/>
                  <a:gd name="T53" fmla="*/ 63 h 247"/>
                  <a:gd name="T54" fmla="*/ 152 w 210"/>
                  <a:gd name="T55" fmla="*/ 2 h 247"/>
                  <a:gd name="T56" fmla="*/ 113 w 210"/>
                  <a:gd name="T57" fmla="*/ 63 h 247"/>
                  <a:gd name="T58" fmla="*/ 76 w 210"/>
                  <a:gd name="T59" fmla="*/ 63 h 247"/>
                  <a:gd name="T60" fmla="*/ 110 w 210"/>
                  <a:gd name="T61" fmla="*/ 2 h 247"/>
                  <a:gd name="T62" fmla="*/ 73 w 210"/>
                  <a:gd name="T63" fmla="*/ 63 h 247"/>
                  <a:gd name="T64" fmla="*/ 32 w 210"/>
                  <a:gd name="T65" fmla="*/ 39 h 247"/>
                  <a:gd name="T66" fmla="*/ 69 w 210"/>
                  <a:gd name="T67" fmla="*/ 2 h 247"/>
                  <a:gd name="T68" fmla="*/ 75 w 210"/>
                  <a:gd name="T69" fmla="*/ 78 h 247"/>
                  <a:gd name="T70" fmla="*/ 49 w 210"/>
                  <a:gd name="T71" fmla="*/ 144 h 247"/>
                  <a:gd name="T72" fmla="*/ 38 w 210"/>
                  <a:gd name="T73" fmla="*/ 78 h 247"/>
                  <a:gd name="T74" fmla="*/ 47 w 210"/>
                  <a:gd name="T75" fmla="*/ 144 h 247"/>
                  <a:gd name="T76" fmla="*/ 15 w 210"/>
                  <a:gd name="T77" fmla="*/ 78 h 247"/>
                  <a:gd name="T78" fmla="*/ 47 w 210"/>
                  <a:gd name="T79" fmla="*/ 144 h 247"/>
                  <a:gd name="T80" fmla="*/ 58 w 210"/>
                  <a:gd name="T81" fmla="*/ 217 h 247"/>
                  <a:gd name="T82" fmla="*/ 29 w 210"/>
                  <a:gd name="T83" fmla="*/ 160 h 247"/>
                  <a:gd name="T84" fmla="*/ 147 w 210"/>
                  <a:gd name="T85" fmla="*/ 217 h 247"/>
                  <a:gd name="T86" fmla="*/ 169 w 210"/>
                  <a:gd name="T87" fmla="*/ 160 h 247"/>
                  <a:gd name="T88" fmla="*/ 147 w 210"/>
                  <a:gd name="T89" fmla="*/ 217 h 247"/>
                  <a:gd name="T90" fmla="*/ 154 w 210"/>
                  <a:gd name="T91" fmla="*/ 2 h 247"/>
                  <a:gd name="T92" fmla="*/ 178 w 210"/>
                  <a:gd name="T93" fmla="*/ 63 h 247"/>
                  <a:gd name="T94" fmla="*/ 24 w 210"/>
                  <a:gd name="T95" fmla="*/ 2 h 247"/>
                  <a:gd name="T96" fmla="*/ 13 w 210"/>
                  <a:gd name="T97" fmla="*/ 63 h 247"/>
                  <a:gd name="T98" fmla="*/ 24 w 210"/>
                  <a:gd name="T99" fmla="*/ 2 h 247"/>
                  <a:gd name="T100" fmla="*/ 167 w 210"/>
                  <a:gd name="T101" fmla="*/ 217 h 247"/>
                  <a:gd name="T102" fmla="*/ 190 w 210"/>
                  <a:gd name="T103" fmla="*/ 160 h 247"/>
                  <a:gd name="T104" fmla="*/ 201 w 210"/>
                  <a:gd name="T105" fmla="*/ 63 h 247"/>
                  <a:gd name="T106" fmla="*/ 185 w 210"/>
                  <a:gd name="T107" fmla="*/ 2 h 247"/>
                  <a:gd name="T108" fmla="*/ 201 w 210"/>
                  <a:gd name="T109" fmla="*/ 63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0" h="247">
                    <a:moveTo>
                      <a:pt x="2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36"/>
                      <a:pt x="47" y="243"/>
                      <a:pt x="56" y="246"/>
                    </a:cubicBezTo>
                    <a:cubicBezTo>
                      <a:pt x="57" y="246"/>
                      <a:pt x="57" y="246"/>
                      <a:pt x="57" y="246"/>
                    </a:cubicBezTo>
                    <a:cubicBezTo>
                      <a:pt x="57" y="246"/>
                      <a:pt x="58" y="246"/>
                      <a:pt x="58" y="246"/>
                    </a:cubicBezTo>
                    <a:cubicBezTo>
                      <a:pt x="60" y="247"/>
                      <a:pt x="61" y="247"/>
                      <a:pt x="63" y="247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64" y="247"/>
                      <a:pt x="64" y="247"/>
                      <a:pt x="64" y="247"/>
                    </a:cubicBezTo>
                    <a:cubicBezTo>
                      <a:pt x="158" y="247"/>
                      <a:pt x="158" y="247"/>
                      <a:pt x="158" y="247"/>
                    </a:cubicBezTo>
                    <a:cubicBezTo>
                      <a:pt x="159" y="247"/>
                      <a:pt x="161" y="247"/>
                      <a:pt x="163" y="247"/>
                    </a:cubicBezTo>
                    <a:cubicBezTo>
                      <a:pt x="174" y="245"/>
                      <a:pt x="183" y="236"/>
                      <a:pt x="184" y="224"/>
                    </a:cubicBezTo>
                    <a:cubicBezTo>
                      <a:pt x="202" y="69"/>
                      <a:pt x="202" y="69"/>
                      <a:pt x="202" y="69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03" y="63"/>
                      <a:pt x="203" y="63"/>
                      <a:pt x="203" y="63"/>
                    </a:cubicBezTo>
                    <a:cubicBezTo>
                      <a:pt x="210" y="1"/>
                      <a:pt x="210" y="1"/>
                      <a:pt x="210" y="1"/>
                    </a:cubicBezTo>
                    <a:lnTo>
                      <a:pt x="210" y="0"/>
                    </a:lnTo>
                    <a:close/>
                    <a:moveTo>
                      <a:pt x="171" y="144"/>
                    </a:moveTo>
                    <a:cubicBezTo>
                      <a:pt x="149" y="144"/>
                      <a:pt x="149" y="144"/>
                      <a:pt x="149" y="144"/>
                    </a:cubicBezTo>
                    <a:cubicBezTo>
                      <a:pt x="151" y="78"/>
                      <a:pt x="151" y="78"/>
                      <a:pt x="151" y="78"/>
                    </a:cubicBezTo>
                    <a:cubicBezTo>
                      <a:pt x="176" y="78"/>
                      <a:pt x="176" y="78"/>
                      <a:pt x="176" y="78"/>
                    </a:cubicBezTo>
                    <a:lnTo>
                      <a:pt x="171" y="144"/>
                    </a:lnTo>
                    <a:close/>
                    <a:moveTo>
                      <a:pt x="178" y="78"/>
                    </a:moveTo>
                    <a:cubicBezTo>
                      <a:pt x="199" y="78"/>
                      <a:pt x="199" y="78"/>
                      <a:pt x="199" y="78"/>
                    </a:cubicBezTo>
                    <a:cubicBezTo>
                      <a:pt x="191" y="144"/>
                      <a:pt x="191" y="144"/>
                      <a:pt x="191" y="144"/>
                    </a:cubicBezTo>
                    <a:cubicBezTo>
                      <a:pt x="173" y="144"/>
                      <a:pt x="173" y="144"/>
                      <a:pt x="173" y="144"/>
                    </a:cubicBezTo>
                    <a:lnTo>
                      <a:pt x="178" y="78"/>
                    </a:lnTo>
                    <a:close/>
                    <a:moveTo>
                      <a:pt x="117" y="217"/>
                    </a:moveTo>
                    <a:cubicBezTo>
                      <a:pt x="115" y="160"/>
                      <a:pt x="115" y="160"/>
                      <a:pt x="115" y="160"/>
                    </a:cubicBezTo>
                    <a:cubicBezTo>
                      <a:pt x="146" y="160"/>
                      <a:pt x="146" y="160"/>
                      <a:pt x="146" y="160"/>
                    </a:cubicBezTo>
                    <a:cubicBezTo>
                      <a:pt x="145" y="217"/>
                      <a:pt x="145" y="217"/>
                      <a:pt x="145" y="217"/>
                    </a:cubicBezTo>
                    <a:lnTo>
                      <a:pt x="117" y="217"/>
                    </a:lnTo>
                    <a:close/>
                    <a:moveTo>
                      <a:pt x="83" y="160"/>
                    </a:moveTo>
                    <a:cubicBezTo>
                      <a:pt x="113" y="160"/>
                      <a:pt x="113" y="160"/>
                      <a:pt x="113" y="160"/>
                    </a:cubicBezTo>
                    <a:cubicBezTo>
                      <a:pt x="115" y="217"/>
                      <a:pt x="115" y="217"/>
                      <a:pt x="115" y="217"/>
                    </a:cubicBezTo>
                    <a:cubicBezTo>
                      <a:pt x="88" y="217"/>
                      <a:pt x="88" y="217"/>
                      <a:pt x="88" y="217"/>
                    </a:cubicBezTo>
                    <a:lnTo>
                      <a:pt x="83" y="160"/>
                    </a:lnTo>
                    <a:close/>
                    <a:moveTo>
                      <a:pt x="85" y="217"/>
                    </a:moveTo>
                    <a:cubicBezTo>
                      <a:pt x="60" y="217"/>
                      <a:pt x="60" y="217"/>
                      <a:pt x="60" y="217"/>
                    </a:cubicBezTo>
                    <a:cubicBezTo>
                      <a:pt x="58" y="201"/>
                      <a:pt x="55" y="181"/>
                      <a:pt x="51" y="160"/>
                    </a:cubicBezTo>
                    <a:cubicBezTo>
                      <a:pt x="81" y="160"/>
                      <a:pt x="81" y="160"/>
                      <a:pt x="81" y="160"/>
                    </a:cubicBezTo>
                    <a:lnTo>
                      <a:pt x="85" y="217"/>
                    </a:lnTo>
                    <a:close/>
                    <a:moveTo>
                      <a:pt x="82" y="144"/>
                    </a:moveTo>
                    <a:cubicBezTo>
                      <a:pt x="77" y="78"/>
                      <a:pt x="77" y="78"/>
                      <a:pt x="77" y="78"/>
                    </a:cubicBezTo>
                    <a:cubicBezTo>
                      <a:pt x="111" y="78"/>
                      <a:pt x="111" y="78"/>
                      <a:pt x="111" y="78"/>
                    </a:cubicBezTo>
                    <a:cubicBezTo>
                      <a:pt x="113" y="144"/>
                      <a:pt x="113" y="144"/>
                      <a:pt x="113" y="144"/>
                    </a:cubicBezTo>
                    <a:lnTo>
                      <a:pt x="82" y="144"/>
                    </a:lnTo>
                    <a:close/>
                    <a:moveTo>
                      <a:pt x="115" y="144"/>
                    </a:moveTo>
                    <a:cubicBezTo>
                      <a:pt x="114" y="78"/>
                      <a:pt x="114" y="78"/>
                      <a:pt x="114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7" y="144"/>
                      <a:pt x="147" y="144"/>
                      <a:pt x="147" y="144"/>
                    </a:cubicBezTo>
                    <a:lnTo>
                      <a:pt x="115" y="144"/>
                    </a:lnTo>
                    <a:close/>
                    <a:moveTo>
                      <a:pt x="113" y="63"/>
                    </a:moveTo>
                    <a:cubicBezTo>
                      <a:pt x="112" y="2"/>
                      <a:pt x="112" y="2"/>
                      <a:pt x="112" y="2"/>
                    </a:cubicBezTo>
                    <a:cubicBezTo>
                      <a:pt x="152" y="2"/>
                      <a:pt x="152" y="2"/>
                      <a:pt x="152" y="2"/>
                    </a:cubicBezTo>
                    <a:cubicBezTo>
                      <a:pt x="150" y="63"/>
                      <a:pt x="150" y="63"/>
                      <a:pt x="150" y="63"/>
                    </a:cubicBezTo>
                    <a:lnTo>
                      <a:pt x="113" y="63"/>
                    </a:lnTo>
                    <a:close/>
                    <a:moveTo>
                      <a:pt x="111" y="63"/>
                    </a:moveTo>
                    <a:cubicBezTo>
                      <a:pt x="76" y="63"/>
                      <a:pt x="76" y="63"/>
                      <a:pt x="76" y="63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110" y="2"/>
                      <a:pt x="110" y="2"/>
                      <a:pt x="110" y="2"/>
                    </a:cubicBezTo>
                    <a:lnTo>
                      <a:pt x="111" y="63"/>
                    </a:lnTo>
                    <a:close/>
                    <a:moveTo>
                      <a:pt x="73" y="63"/>
                    </a:moveTo>
                    <a:cubicBezTo>
                      <a:pt x="36" y="63"/>
                      <a:pt x="36" y="63"/>
                      <a:pt x="36" y="63"/>
                    </a:cubicBezTo>
                    <a:cubicBezTo>
                      <a:pt x="35" y="54"/>
                      <a:pt x="33" y="46"/>
                      <a:pt x="32" y="39"/>
                    </a:cubicBezTo>
                    <a:cubicBezTo>
                      <a:pt x="28" y="14"/>
                      <a:pt x="27" y="5"/>
                      <a:pt x="26" y="2"/>
                    </a:cubicBezTo>
                    <a:cubicBezTo>
                      <a:pt x="69" y="2"/>
                      <a:pt x="69" y="2"/>
                      <a:pt x="69" y="2"/>
                    </a:cubicBezTo>
                    <a:lnTo>
                      <a:pt x="73" y="63"/>
                    </a:lnTo>
                    <a:close/>
                    <a:moveTo>
                      <a:pt x="75" y="78"/>
                    </a:moveTo>
                    <a:cubicBezTo>
                      <a:pt x="80" y="144"/>
                      <a:pt x="80" y="144"/>
                      <a:pt x="80" y="144"/>
                    </a:cubicBezTo>
                    <a:cubicBezTo>
                      <a:pt x="49" y="144"/>
                      <a:pt x="49" y="144"/>
                      <a:pt x="49" y="144"/>
                    </a:cubicBezTo>
                    <a:cubicBezTo>
                      <a:pt x="48" y="137"/>
                      <a:pt x="47" y="130"/>
                      <a:pt x="46" y="124"/>
                    </a:cubicBezTo>
                    <a:cubicBezTo>
                      <a:pt x="43" y="108"/>
                      <a:pt x="41" y="93"/>
                      <a:pt x="38" y="78"/>
                    </a:cubicBezTo>
                    <a:lnTo>
                      <a:pt x="75" y="78"/>
                    </a:lnTo>
                    <a:close/>
                    <a:moveTo>
                      <a:pt x="47" y="144"/>
                    </a:moveTo>
                    <a:cubicBezTo>
                      <a:pt x="26" y="144"/>
                      <a:pt x="26" y="144"/>
                      <a:pt x="26" y="144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36" y="78"/>
                      <a:pt x="36" y="78"/>
                      <a:pt x="36" y="78"/>
                    </a:cubicBezTo>
                    <a:cubicBezTo>
                      <a:pt x="39" y="99"/>
                      <a:pt x="43" y="121"/>
                      <a:pt x="47" y="144"/>
                    </a:cubicBezTo>
                    <a:close/>
                    <a:moveTo>
                      <a:pt x="49" y="160"/>
                    </a:moveTo>
                    <a:cubicBezTo>
                      <a:pt x="52" y="179"/>
                      <a:pt x="55" y="199"/>
                      <a:pt x="58" y="217"/>
                    </a:cubicBezTo>
                    <a:cubicBezTo>
                      <a:pt x="38" y="217"/>
                      <a:pt x="38" y="217"/>
                      <a:pt x="38" y="217"/>
                    </a:cubicBezTo>
                    <a:cubicBezTo>
                      <a:pt x="29" y="160"/>
                      <a:pt x="29" y="160"/>
                      <a:pt x="29" y="160"/>
                    </a:cubicBezTo>
                    <a:lnTo>
                      <a:pt x="49" y="160"/>
                    </a:lnTo>
                    <a:close/>
                    <a:moveTo>
                      <a:pt x="147" y="217"/>
                    </a:moveTo>
                    <a:cubicBezTo>
                      <a:pt x="149" y="160"/>
                      <a:pt x="149" y="160"/>
                      <a:pt x="149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64" y="217"/>
                      <a:pt x="164" y="217"/>
                      <a:pt x="164" y="217"/>
                    </a:cubicBezTo>
                    <a:lnTo>
                      <a:pt x="147" y="217"/>
                    </a:lnTo>
                    <a:close/>
                    <a:moveTo>
                      <a:pt x="152" y="63"/>
                    </a:moveTo>
                    <a:cubicBezTo>
                      <a:pt x="154" y="2"/>
                      <a:pt x="154" y="2"/>
                      <a:pt x="154" y="2"/>
                    </a:cubicBezTo>
                    <a:cubicBezTo>
                      <a:pt x="183" y="2"/>
                      <a:pt x="183" y="2"/>
                      <a:pt x="183" y="2"/>
                    </a:cubicBezTo>
                    <a:cubicBezTo>
                      <a:pt x="178" y="63"/>
                      <a:pt x="178" y="63"/>
                      <a:pt x="178" y="63"/>
                    </a:cubicBezTo>
                    <a:lnTo>
                      <a:pt x="152" y="63"/>
                    </a:lnTo>
                    <a:close/>
                    <a:moveTo>
                      <a:pt x="24" y="2"/>
                    </a:moveTo>
                    <a:cubicBezTo>
                      <a:pt x="25" y="6"/>
                      <a:pt x="29" y="30"/>
                      <a:pt x="34" y="63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2" y="2"/>
                      <a:pt x="2" y="2"/>
                      <a:pt x="2" y="2"/>
                    </a:cubicBezTo>
                    <a:lnTo>
                      <a:pt x="24" y="2"/>
                    </a:lnTo>
                    <a:close/>
                    <a:moveTo>
                      <a:pt x="183" y="217"/>
                    </a:moveTo>
                    <a:cubicBezTo>
                      <a:pt x="167" y="217"/>
                      <a:pt x="167" y="217"/>
                      <a:pt x="167" y="217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90" y="160"/>
                      <a:pt x="190" y="160"/>
                      <a:pt x="190" y="160"/>
                    </a:cubicBezTo>
                    <a:lnTo>
                      <a:pt x="183" y="217"/>
                    </a:lnTo>
                    <a:close/>
                    <a:moveTo>
                      <a:pt x="201" y="63"/>
                    </a:moveTo>
                    <a:cubicBezTo>
                      <a:pt x="180" y="63"/>
                      <a:pt x="180" y="63"/>
                      <a:pt x="180" y="63"/>
                    </a:cubicBezTo>
                    <a:cubicBezTo>
                      <a:pt x="185" y="2"/>
                      <a:pt x="185" y="2"/>
                      <a:pt x="185" y="2"/>
                    </a:cubicBezTo>
                    <a:cubicBezTo>
                      <a:pt x="208" y="2"/>
                      <a:pt x="208" y="2"/>
                      <a:pt x="208" y="2"/>
                    </a:cubicBezTo>
                    <a:lnTo>
                      <a:pt x="201" y="6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25">
                <a:extLst>
                  <a:ext uri="{FF2B5EF4-FFF2-40B4-BE49-F238E27FC236}">
                    <a16:creationId xmlns:a16="http://schemas.microsoft.com/office/drawing/2014/main" id="{4FB8ED78-3A94-4DAB-8AE8-8171D7C51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8" y="1110"/>
                <a:ext cx="107" cy="43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26">
                <a:extLst>
                  <a:ext uri="{FF2B5EF4-FFF2-40B4-BE49-F238E27FC236}">
                    <a16:creationId xmlns:a16="http://schemas.microsoft.com/office/drawing/2014/main" id="{3D81D810-09D4-42C5-B60E-8859A76464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5" y="1202"/>
                <a:ext cx="109" cy="338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Rectangle 27">
                <a:extLst>
                  <a:ext uri="{FF2B5EF4-FFF2-40B4-BE49-F238E27FC236}">
                    <a16:creationId xmlns:a16="http://schemas.microsoft.com/office/drawing/2014/main" id="{75BECD69-B0F7-446A-BF76-AE9405A132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6" y="1281"/>
                <a:ext cx="107" cy="259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Rectangle 28">
                <a:extLst>
                  <a:ext uri="{FF2B5EF4-FFF2-40B4-BE49-F238E27FC236}">
                    <a16:creationId xmlns:a16="http://schemas.microsoft.com/office/drawing/2014/main" id="{97209E28-DE2C-4D87-A701-D96F8E08A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73" y="1385"/>
                <a:ext cx="109" cy="15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9E2916BE-4D5D-4DF7-997C-63D3EBD8B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7" y="1934"/>
                <a:ext cx="819" cy="817"/>
              </a:xfrm>
              <a:custGeom>
                <a:avLst/>
                <a:gdLst>
                  <a:gd name="T0" fmla="*/ 279 w 345"/>
                  <a:gd name="T1" fmla="*/ 59 h 344"/>
                  <a:gd name="T2" fmla="*/ 59 w 345"/>
                  <a:gd name="T3" fmla="*/ 66 h 344"/>
                  <a:gd name="T4" fmla="*/ 66 w 345"/>
                  <a:gd name="T5" fmla="*/ 285 h 344"/>
                  <a:gd name="T6" fmla="*/ 286 w 345"/>
                  <a:gd name="T7" fmla="*/ 278 h 344"/>
                  <a:gd name="T8" fmla="*/ 279 w 345"/>
                  <a:gd name="T9" fmla="*/ 59 h 344"/>
                  <a:gd name="T10" fmla="*/ 227 w 345"/>
                  <a:gd name="T11" fmla="*/ 223 h 344"/>
                  <a:gd name="T12" fmla="*/ 122 w 345"/>
                  <a:gd name="T13" fmla="*/ 226 h 344"/>
                  <a:gd name="T14" fmla="*/ 118 w 345"/>
                  <a:gd name="T15" fmla="*/ 121 h 344"/>
                  <a:gd name="T16" fmla="*/ 223 w 345"/>
                  <a:gd name="T17" fmla="*/ 118 h 344"/>
                  <a:gd name="T18" fmla="*/ 227 w 345"/>
                  <a:gd name="T19" fmla="*/ 223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5" h="344">
                    <a:moveTo>
                      <a:pt x="279" y="59"/>
                    </a:moveTo>
                    <a:cubicBezTo>
                      <a:pt x="216" y="0"/>
                      <a:pt x="117" y="4"/>
                      <a:pt x="59" y="66"/>
                    </a:cubicBezTo>
                    <a:cubicBezTo>
                      <a:pt x="0" y="129"/>
                      <a:pt x="3" y="227"/>
                      <a:pt x="66" y="285"/>
                    </a:cubicBezTo>
                    <a:cubicBezTo>
                      <a:pt x="129" y="344"/>
                      <a:pt x="228" y="340"/>
                      <a:pt x="286" y="278"/>
                    </a:cubicBezTo>
                    <a:cubicBezTo>
                      <a:pt x="345" y="215"/>
                      <a:pt x="342" y="117"/>
                      <a:pt x="279" y="59"/>
                    </a:cubicBezTo>
                    <a:close/>
                    <a:moveTo>
                      <a:pt x="227" y="223"/>
                    </a:moveTo>
                    <a:cubicBezTo>
                      <a:pt x="199" y="252"/>
                      <a:pt x="152" y="254"/>
                      <a:pt x="122" y="226"/>
                    </a:cubicBezTo>
                    <a:cubicBezTo>
                      <a:pt x="92" y="198"/>
                      <a:pt x="90" y="151"/>
                      <a:pt x="118" y="121"/>
                    </a:cubicBezTo>
                    <a:cubicBezTo>
                      <a:pt x="146" y="92"/>
                      <a:pt x="193" y="90"/>
                      <a:pt x="223" y="118"/>
                    </a:cubicBezTo>
                    <a:cubicBezTo>
                      <a:pt x="253" y="146"/>
                      <a:pt x="255" y="193"/>
                      <a:pt x="227" y="223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30">
                <a:extLst>
                  <a:ext uri="{FF2B5EF4-FFF2-40B4-BE49-F238E27FC236}">
                    <a16:creationId xmlns:a16="http://schemas.microsoft.com/office/drawing/2014/main" id="{C8EDC645-D117-4C44-A026-48B710A65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7" y="1934"/>
                <a:ext cx="662" cy="677"/>
              </a:xfrm>
              <a:custGeom>
                <a:avLst/>
                <a:gdLst>
                  <a:gd name="T0" fmla="*/ 59 w 279"/>
                  <a:gd name="T1" fmla="*/ 66 h 285"/>
                  <a:gd name="T2" fmla="*/ 279 w 279"/>
                  <a:gd name="T3" fmla="*/ 59 h 285"/>
                  <a:gd name="T4" fmla="*/ 223 w 279"/>
                  <a:gd name="T5" fmla="*/ 118 h 285"/>
                  <a:gd name="T6" fmla="*/ 118 w 279"/>
                  <a:gd name="T7" fmla="*/ 121 h 285"/>
                  <a:gd name="T8" fmla="*/ 122 w 279"/>
                  <a:gd name="T9" fmla="*/ 226 h 285"/>
                  <a:gd name="T10" fmla="*/ 66 w 279"/>
                  <a:gd name="T11" fmla="*/ 285 h 285"/>
                  <a:gd name="T12" fmla="*/ 59 w 279"/>
                  <a:gd name="T13" fmla="*/ 66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285">
                    <a:moveTo>
                      <a:pt x="59" y="66"/>
                    </a:moveTo>
                    <a:cubicBezTo>
                      <a:pt x="117" y="4"/>
                      <a:pt x="216" y="0"/>
                      <a:pt x="279" y="59"/>
                    </a:cubicBezTo>
                    <a:cubicBezTo>
                      <a:pt x="223" y="118"/>
                      <a:pt x="223" y="118"/>
                      <a:pt x="223" y="118"/>
                    </a:cubicBezTo>
                    <a:cubicBezTo>
                      <a:pt x="193" y="90"/>
                      <a:pt x="146" y="92"/>
                      <a:pt x="118" y="121"/>
                    </a:cubicBezTo>
                    <a:cubicBezTo>
                      <a:pt x="90" y="151"/>
                      <a:pt x="92" y="198"/>
                      <a:pt x="122" y="226"/>
                    </a:cubicBezTo>
                    <a:cubicBezTo>
                      <a:pt x="66" y="285"/>
                      <a:pt x="66" y="285"/>
                      <a:pt x="66" y="285"/>
                    </a:cubicBezTo>
                    <a:cubicBezTo>
                      <a:pt x="3" y="227"/>
                      <a:pt x="0" y="129"/>
                      <a:pt x="59" y="66"/>
                    </a:cubicBez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31">
                <a:extLst>
                  <a:ext uri="{FF2B5EF4-FFF2-40B4-BE49-F238E27FC236}">
                    <a16:creationId xmlns:a16="http://schemas.microsoft.com/office/drawing/2014/main" id="{522AD247-1603-429A-9C1A-C367D900F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3" y="2012"/>
                <a:ext cx="356" cy="630"/>
              </a:xfrm>
              <a:custGeom>
                <a:avLst/>
                <a:gdLst>
                  <a:gd name="T0" fmla="*/ 64 w 150"/>
                  <a:gd name="T1" fmla="*/ 0 h 265"/>
                  <a:gd name="T2" fmla="*/ 78 w 150"/>
                  <a:gd name="T3" fmla="*/ 265 h 265"/>
                  <a:gd name="T4" fmla="*/ 0 w 150"/>
                  <a:gd name="T5" fmla="*/ 197 h 265"/>
                  <a:gd name="T6" fmla="*/ 5 w 150"/>
                  <a:gd name="T7" fmla="*/ 77 h 265"/>
                  <a:gd name="T8" fmla="*/ 64 w 150"/>
                  <a:gd name="T9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265">
                    <a:moveTo>
                      <a:pt x="64" y="0"/>
                    </a:moveTo>
                    <a:cubicBezTo>
                      <a:pt x="140" y="72"/>
                      <a:pt x="150" y="188"/>
                      <a:pt x="78" y="265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34" y="160"/>
                      <a:pt x="42" y="112"/>
                      <a:pt x="5" y="77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32">
                <a:extLst>
                  <a:ext uri="{FF2B5EF4-FFF2-40B4-BE49-F238E27FC236}">
                    <a16:creationId xmlns:a16="http://schemas.microsoft.com/office/drawing/2014/main" id="{44CFD330-395D-40FE-8B5A-6C5D650E4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2682"/>
                <a:ext cx="1049" cy="297"/>
              </a:xfrm>
              <a:custGeom>
                <a:avLst/>
                <a:gdLst>
                  <a:gd name="T0" fmla="*/ 429 w 442"/>
                  <a:gd name="T1" fmla="*/ 125 h 125"/>
                  <a:gd name="T2" fmla="*/ 13 w 442"/>
                  <a:gd name="T3" fmla="*/ 125 h 125"/>
                  <a:gd name="T4" fmla="*/ 0 w 442"/>
                  <a:gd name="T5" fmla="*/ 112 h 125"/>
                  <a:gd name="T6" fmla="*/ 0 w 442"/>
                  <a:gd name="T7" fmla="*/ 13 h 125"/>
                  <a:gd name="T8" fmla="*/ 13 w 442"/>
                  <a:gd name="T9" fmla="*/ 0 h 125"/>
                  <a:gd name="T10" fmla="*/ 429 w 442"/>
                  <a:gd name="T11" fmla="*/ 0 h 125"/>
                  <a:gd name="T12" fmla="*/ 442 w 442"/>
                  <a:gd name="T13" fmla="*/ 13 h 125"/>
                  <a:gd name="T14" fmla="*/ 442 w 442"/>
                  <a:gd name="T15" fmla="*/ 112 h 125"/>
                  <a:gd name="T16" fmla="*/ 429 w 442"/>
                  <a:gd name="T1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2" h="125">
                    <a:moveTo>
                      <a:pt x="429" y="125"/>
                    </a:moveTo>
                    <a:cubicBezTo>
                      <a:pt x="13" y="125"/>
                      <a:pt x="13" y="125"/>
                      <a:pt x="13" y="125"/>
                    </a:cubicBezTo>
                    <a:cubicBezTo>
                      <a:pt x="6" y="125"/>
                      <a:pt x="0" y="119"/>
                      <a:pt x="0" y="1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429" y="0"/>
                      <a:pt x="429" y="0"/>
                      <a:pt x="429" y="0"/>
                    </a:cubicBezTo>
                    <a:cubicBezTo>
                      <a:pt x="436" y="0"/>
                      <a:pt x="442" y="6"/>
                      <a:pt x="442" y="13"/>
                    </a:cubicBezTo>
                    <a:cubicBezTo>
                      <a:pt x="442" y="112"/>
                      <a:pt x="442" y="112"/>
                      <a:pt x="442" y="112"/>
                    </a:cubicBezTo>
                    <a:cubicBezTo>
                      <a:pt x="442" y="119"/>
                      <a:pt x="436" y="125"/>
                      <a:pt x="429" y="1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33">
                <a:extLst>
                  <a:ext uri="{FF2B5EF4-FFF2-40B4-BE49-F238E27FC236}">
                    <a16:creationId xmlns:a16="http://schemas.microsoft.com/office/drawing/2014/main" id="{E533F080-0F1E-465D-9399-18E495B9F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8" y="2767"/>
                <a:ext cx="145" cy="145"/>
              </a:xfrm>
              <a:custGeom>
                <a:avLst/>
                <a:gdLst>
                  <a:gd name="T0" fmla="*/ 51 w 61"/>
                  <a:gd name="T1" fmla="*/ 47 h 61"/>
                  <a:gd name="T2" fmla="*/ 13 w 61"/>
                  <a:gd name="T3" fmla="*/ 51 h 61"/>
                  <a:gd name="T4" fmla="*/ 9 w 61"/>
                  <a:gd name="T5" fmla="*/ 13 h 61"/>
                  <a:gd name="T6" fmla="*/ 47 w 61"/>
                  <a:gd name="T7" fmla="*/ 9 h 61"/>
                  <a:gd name="T8" fmla="*/ 51 w 61"/>
                  <a:gd name="T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61">
                    <a:moveTo>
                      <a:pt x="51" y="47"/>
                    </a:moveTo>
                    <a:cubicBezTo>
                      <a:pt x="42" y="59"/>
                      <a:pt x="25" y="61"/>
                      <a:pt x="13" y="51"/>
                    </a:cubicBezTo>
                    <a:cubicBezTo>
                      <a:pt x="2" y="42"/>
                      <a:pt x="0" y="25"/>
                      <a:pt x="9" y="13"/>
                    </a:cubicBezTo>
                    <a:cubicBezTo>
                      <a:pt x="19" y="2"/>
                      <a:pt x="36" y="0"/>
                      <a:pt x="47" y="9"/>
                    </a:cubicBezTo>
                    <a:cubicBezTo>
                      <a:pt x="59" y="18"/>
                      <a:pt x="61" y="35"/>
                      <a:pt x="51" y="47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34">
                <a:extLst>
                  <a:ext uri="{FF2B5EF4-FFF2-40B4-BE49-F238E27FC236}">
                    <a16:creationId xmlns:a16="http://schemas.microsoft.com/office/drawing/2014/main" id="{35A48F91-4F4B-437A-81B4-FB55824FE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4" y="2817"/>
                <a:ext cx="74" cy="48"/>
              </a:xfrm>
              <a:custGeom>
                <a:avLst/>
                <a:gdLst>
                  <a:gd name="T0" fmla="*/ 30 w 31"/>
                  <a:gd name="T1" fmla="*/ 0 h 20"/>
                  <a:gd name="T2" fmla="*/ 16 w 31"/>
                  <a:gd name="T3" fmla="*/ 16 h 20"/>
                  <a:gd name="T4" fmla="*/ 12 w 31"/>
                  <a:gd name="T5" fmla="*/ 19 h 20"/>
                  <a:gd name="T6" fmla="*/ 12 w 31"/>
                  <a:gd name="T7" fmla="*/ 20 h 20"/>
                  <a:gd name="T8" fmla="*/ 11 w 31"/>
                  <a:gd name="T9" fmla="*/ 19 h 20"/>
                  <a:gd name="T10" fmla="*/ 0 w 31"/>
                  <a:gd name="T11" fmla="*/ 7 h 20"/>
                  <a:gd name="T12" fmla="*/ 12 w 31"/>
                  <a:gd name="T13" fmla="*/ 18 h 20"/>
                  <a:gd name="T14" fmla="*/ 11 w 31"/>
                  <a:gd name="T15" fmla="*/ 18 h 20"/>
                  <a:gd name="T16" fmla="*/ 14 w 31"/>
                  <a:gd name="T17" fmla="*/ 14 h 20"/>
                  <a:gd name="T18" fmla="*/ 30 w 31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20">
                    <a:moveTo>
                      <a:pt x="30" y="0"/>
                    </a:moveTo>
                    <a:cubicBezTo>
                      <a:pt x="31" y="0"/>
                      <a:pt x="24" y="7"/>
                      <a:pt x="16" y="16"/>
                    </a:cubicBezTo>
                    <a:cubicBezTo>
                      <a:pt x="15" y="17"/>
                      <a:pt x="14" y="18"/>
                      <a:pt x="12" y="19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4" y="12"/>
                      <a:pt x="0" y="7"/>
                      <a:pt x="0" y="7"/>
                    </a:cubicBezTo>
                    <a:cubicBezTo>
                      <a:pt x="0" y="6"/>
                      <a:pt x="6" y="11"/>
                      <a:pt x="12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7"/>
                      <a:pt x="13" y="15"/>
                      <a:pt x="14" y="14"/>
                    </a:cubicBezTo>
                    <a:cubicBezTo>
                      <a:pt x="23" y="6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Oval 35">
                <a:extLst>
                  <a:ext uri="{FF2B5EF4-FFF2-40B4-BE49-F238E27FC236}">
                    <a16:creationId xmlns:a16="http://schemas.microsoft.com/office/drawing/2014/main" id="{0226599A-F0E8-4876-86A1-889889715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7" y="2805"/>
                <a:ext cx="626" cy="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Oval 36">
                <a:extLst>
                  <a:ext uri="{FF2B5EF4-FFF2-40B4-BE49-F238E27FC236}">
                    <a16:creationId xmlns:a16="http://schemas.microsoft.com/office/drawing/2014/main" id="{FCB019A1-154A-4D4E-9D3B-BD4E91ECD1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2858"/>
                <a:ext cx="629" cy="4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37">
                <a:extLst>
                  <a:ext uri="{FF2B5EF4-FFF2-40B4-BE49-F238E27FC236}">
                    <a16:creationId xmlns:a16="http://schemas.microsoft.com/office/drawing/2014/main" id="{6D5E1639-385F-404C-9395-198066D696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" y="2900"/>
                <a:ext cx="857" cy="1492"/>
              </a:xfrm>
              <a:custGeom>
                <a:avLst/>
                <a:gdLst>
                  <a:gd name="T0" fmla="*/ 19 w 857"/>
                  <a:gd name="T1" fmla="*/ 0 h 1492"/>
                  <a:gd name="T2" fmla="*/ 0 w 857"/>
                  <a:gd name="T3" fmla="*/ 1492 h 1492"/>
                  <a:gd name="T4" fmla="*/ 857 w 857"/>
                  <a:gd name="T5" fmla="*/ 1492 h 1492"/>
                  <a:gd name="T6" fmla="*/ 857 w 857"/>
                  <a:gd name="T7" fmla="*/ 19 h 1492"/>
                  <a:gd name="T8" fmla="*/ 19 w 857"/>
                  <a:gd name="T9" fmla="*/ 0 h 1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7" h="1492">
                    <a:moveTo>
                      <a:pt x="19" y="0"/>
                    </a:moveTo>
                    <a:lnTo>
                      <a:pt x="0" y="1492"/>
                    </a:lnTo>
                    <a:lnTo>
                      <a:pt x="857" y="1492"/>
                    </a:lnTo>
                    <a:lnTo>
                      <a:pt x="857" y="1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38">
                <a:extLst>
                  <a:ext uri="{FF2B5EF4-FFF2-40B4-BE49-F238E27FC236}">
                    <a16:creationId xmlns:a16="http://schemas.microsoft.com/office/drawing/2014/main" id="{3B3AD607-2FFB-4F8C-9CBD-970F6AC83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1" y="2912"/>
                <a:ext cx="385" cy="1480"/>
              </a:xfrm>
              <a:custGeom>
                <a:avLst/>
                <a:gdLst>
                  <a:gd name="T0" fmla="*/ 10 w 385"/>
                  <a:gd name="T1" fmla="*/ 0 h 1480"/>
                  <a:gd name="T2" fmla="*/ 0 w 385"/>
                  <a:gd name="T3" fmla="*/ 1480 h 1480"/>
                  <a:gd name="T4" fmla="*/ 385 w 385"/>
                  <a:gd name="T5" fmla="*/ 1480 h 1480"/>
                  <a:gd name="T6" fmla="*/ 385 w 385"/>
                  <a:gd name="T7" fmla="*/ 7 h 1480"/>
                  <a:gd name="T8" fmla="*/ 10 w 385"/>
                  <a:gd name="T9" fmla="*/ 0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5" h="1480">
                    <a:moveTo>
                      <a:pt x="10" y="0"/>
                    </a:moveTo>
                    <a:lnTo>
                      <a:pt x="0" y="1480"/>
                    </a:lnTo>
                    <a:lnTo>
                      <a:pt x="385" y="1480"/>
                    </a:lnTo>
                    <a:lnTo>
                      <a:pt x="385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39">
                <a:extLst>
                  <a:ext uri="{FF2B5EF4-FFF2-40B4-BE49-F238E27FC236}">
                    <a16:creationId xmlns:a16="http://schemas.microsoft.com/office/drawing/2014/main" id="{88BD14E2-4C5E-49EA-BBB5-3D2CEECBAB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2927"/>
                <a:ext cx="406" cy="306"/>
              </a:xfrm>
              <a:custGeom>
                <a:avLst/>
                <a:gdLst>
                  <a:gd name="T0" fmla="*/ 0 w 406"/>
                  <a:gd name="T1" fmla="*/ 0 h 306"/>
                  <a:gd name="T2" fmla="*/ 0 w 406"/>
                  <a:gd name="T3" fmla="*/ 306 h 306"/>
                  <a:gd name="T4" fmla="*/ 406 w 406"/>
                  <a:gd name="T5" fmla="*/ 306 h 306"/>
                  <a:gd name="T6" fmla="*/ 406 w 406"/>
                  <a:gd name="T7" fmla="*/ 14 h 306"/>
                  <a:gd name="T8" fmla="*/ 0 w 406"/>
                  <a:gd name="T9" fmla="*/ 0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6">
                    <a:moveTo>
                      <a:pt x="0" y="0"/>
                    </a:moveTo>
                    <a:lnTo>
                      <a:pt x="0" y="306"/>
                    </a:lnTo>
                    <a:lnTo>
                      <a:pt x="406" y="306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40">
                <a:extLst>
                  <a:ext uri="{FF2B5EF4-FFF2-40B4-BE49-F238E27FC236}">
                    <a16:creationId xmlns:a16="http://schemas.microsoft.com/office/drawing/2014/main" id="{A2A9CE62-5496-4FBB-8A78-F8C66EB5F1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007"/>
                <a:ext cx="126" cy="48"/>
              </a:xfrm>
              <a:custGeom>
                <a:avLst/>
                <a:gdLst>
                  <a:gd name="T0" fmla="*/ 0 w 126"/>
                  <a:gd name="T1" fmla="*/ 3 h 48"/>
                  <a:gd name="T2" fmla="*/ 0 w 126"/>
                  <a:gd name="T3" fmla="*/ 48 h 48"/>
                  <a:gd name="T4" fmla="*/ 126 w 126"/>
                  <a:gd name="T5" fmla="*/ 48 h 48"/>
                  <a:gd name="T6" fmla="*/ 126 w 126"/>
                  <a:gd name="T7" fmla="*/ 0 h 48"/>
                  <a:gd name="T8" fmla="*/ 0 w 126"/>
                  <a:gd name="T9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8">
                    <a:moveTo>
                      <a:pt x="0" y="3"/>
                    </a:moveTo>
                    <a:lnTo>
                      <a:pt x="0" y="48"/>
                    </a:lnTo>
                    <a:lnTo>
                      <a:pt x="126" y="48"/>
                    </a:lnTo>
                    <a:lnTo>
                      <a:pt x="126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41">
                <a:extLst>
                  <a:ext uri="{FF2B5EF4-FFF2-40B4-BE49-F238E27FC236}">
                    <a16:creationId xmlns:a16="http://schemas.microsoft.com/office/drawing/2014/main" id="{30FD2754-8F5B-4A49-B6E4-DF9289C7F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093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42">
                <a:extLst>
                  <a:ext uri="{FF2B5EF4-FFF2-40B4-BE49-F238E27FC236}">
                    <a16:creationId xmlns:a16="http://schemas.microsoft.com/office/drawing/2014/main" id="{11F52B55-11B3-4C94-A9D4-5EC82A22B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995"/>
                <a:ext cx="406" cy="307"/>
              </a:xfrm>
              <a:custGeom>
                <a:avLst/>
                <a:gdLst>
                  <a:gd name="T0" fmla="*/ 0 w 406"/>
                  <a:gd name="T1" fmla="*/ 0 h 307"/>
                  <a:gd name="T2" fmla="*/ 0 w 406"/>
                  <a:gd name="T3" fmla="*/ 307 h 307"/>
                  <a:gd name="T4" fmla="*/ 406 w 406"/>
                  <a:gd name="T5" fmla="*/ 307 h 307"/>
                  <a:gd name="T6" fmla="*/ 406 w 406"/>
                  <a:gd name="T7" fmla="*/ 15 h 307"/>
                  <a:gd name="T8" fmla="*/ 0 w 406"/>
                  <a:gd name="T9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7">
                    <a:moveTo>
                      <a:pt x="0" y="0"/>
                    </a:moveTo>
                    <a:lnTo>
                      <a:pt x="0" y="307"/>
                    </a:lnTo>
                    <a:lnTo>
                      <a:pt x="406" y="307"/>
                    </a:lnTo>
                    <a:lnTo>
                      <a:pt x="406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43">
                <a:extLst>
                  <a:ext uri="{FF2B5EF4-FFF2-40B4-BE49-F238E27FC236}">
                    <a16:creationId xmlns:a16="http://schemas.microsoft.com/office/drawing/2014/main" id="{1060FC98-098C-4E38-A557-589699CFF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4076"/>
                <a:ext cx="126" cy="50"/>
              </a:xfrm>
              <a:custGeom>
                <a:avLst/>
                <a:gdLst>
                  <a:gd name="T0" fmla="*/ 0 w 126"/>
                  <a:gd name="T1" fmla="*/ 5 h 50"/>
                  <a:gd name="T2" fmla="*/ 0 w 126"/>
                  <a:gd name="T3" fmla="*/ 50 h 50"/>
                  <a:gd name="T4" fmla="*/ 126 w 126"/>
                  <a:gd name="T5" fmla="*/ 50 h 50"/>
                  <a:gd name="T6" fmla="*/ 126 w 126"/>
                  <a:gd name="T7" fmla="*/ 0 h 50"/>
                  <a:gd name="T8" fmla="*/ 0 w 126"/>
                  <a:gd name="T9" fmla="*/ 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50">
                    <a:moveTo>
                      <a:pt x="0" y="5"/>
                    </a:moveTo>
                    <a:lnTo>
                      <a:pt x="0" y="50"/>
                    </a:lnTo>
                    <a:lnTo>
                      <a:pt x="126" y="50"/>
                    </a:lnTo>
                    <a:lnTo>
                      <a:pt x="126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44">
                <a:extLst>
                  <a:ext uri="{FF2B5EF4-FFF2-40B4-BE49-F238E27FC236}">
                    <a16:creationId xmlns:a16="http://schemas.microsoft.com/office/drawing/2014/main" id="{7DC9E631-F81F-4C76-819B-1F2E1EC18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4162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5">
                <a:extLst>
                  <a:ext uri="{FF2B5EF4-FFF2-40B4-BE49-F238E27FC236}">
                    <a16:creationId xmlns:a16="http://schemas.microsoft.com/office/drawing/2014/main" id="{96A2752D-43E8-4657-A307-845C70BF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" y="3271"/>
                <a:ext cx="406" cy="304"/>
              </a:xfrm>
              <a:custGeom>
                <a:avLst/>
                <a:gdLst>
                  <a:gd name="T0" fmla="*/ 0 w 406"/>
                  <a:gd name="T1" fmla="*/ 0 h 304"/>
                  <a:gd name="T2" fmla="*/ 0 w 406"/>
                  <a:gd name="T3" fmla="*/ 304 h 304"/>
                  <a:gd name="T4" fmla="*/ 406 w 406"/>
                  <a:gd name="T5" fmla="*/ 304 h 304"/>
                  <a:gd name="T6" fmla="*/ 406 w 406"/>
                  <a:gd name="T7" fmla="*/ 14 h 304"/>
                  <a:gd name="T8" fmla="*/ 0 w 406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6" h="304">
                    <a:moveTo>
                      <a:pt x="0" y="0"/>
                    </a:moveTo>
                    <a:lnTo>
                      <a:pt x="0" y="304"/>
                    </a:lnTo>
                    <a:lnTo>
                      <a:pt x="406" y="304"/>
                    </a:lnTo>
                    <a:lnTo>
                      <a:pt x="406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6">
                <a:extLst>
                  <a:ext uri="{FF2B5EF4-FFF2-40B4-BE49-F238E27FC236}">
                    <a16:creationId xmlns:a16="http://schemas.microsoft.com/office/drawing/2014/main" id="{D0B740C3-8B0A-46DD-BAFD-4E102A5A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4" y="3352"/>
                <a:ext cx="126" cy="47"/>
              </a:xfrm>
              <a:custGeom>
                <a:avLst/>
                <a:gdLst>
                  <a:gd name="T0" fmla="*/ 0 w 126"/>
                  <a:gd name="T1" fmla="*/ 2 h 47"/>
                  <a:gd name="T2" fmla="*/ 0 w 126"/>
                  <a:gd name="T3" fmla="*/ 47 h 47"/>
                  <a:gd name="T4" fmla="*/ 126 w 126"/>
                  <a:gd name="T5" fmla="*/ 47 h 47"/>
                  <a:gd name="T6" fmla="*/ 126 w 126"/>
                  <a:gd name="T7" fmla="*/ 0 h 47"/>
                  <a:gd name="T8" fmla="*/ 0 w 126"/>
                  <a:gd name="T9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47">
                    <a:moveTo>
                      <a:pt x="0" y="2"/>
                    </a:moveTo>
                    <a:lnTo>
                      <a:pt x="0" y="47"/>
                    </a:lnTo>
                    <a:lnTo>
                      <a:pt x="126" y="47"/>
                    </a:lnTo>
                    <a:lnTo>
                      <a:pt x="12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47">
                <a:extLst>
                  <a:ext uri="{FF2B5EF4-FFF2-40B4-BE49-F238E27FC236}">
                    <a16:creationId xmlns:a16="http://schemas.microsoft.com/office/drawing/2014/main" id="{FC2AD660-577F-4656-9E0E-3F59E407CF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4" y="3437"/>
                <a:ext cx="128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48">
                <a:extLst>
                  <a:ext uri="{FF2B5EF4-FFF2-40B4-BE49-F238E27FC236}">
                    <a16:creationId xmlns:a16="http://schemas.microsoft.com/office/drawing/2014/main" id="{A5791F8C-3431-4D10-8C53-9EED526E6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9" y="3637"/>
                <a:ext cx="406" cy="304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9">
                <a:extLst>
                  <a:ext uri="{FF2B5EF4-FFF2-40B4-BE49-F238E27FC236}">
                    <a16:creationId xmlns:a16="http://schemas.microsoft.com/office/drawing/2014/main" id="{C0D8B2F4-7504-470E-B9AD-5AB107117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2" y="3770"/>
                <a:ext cx="116" cy="45"/>
              </a:xfrm>
              <a:custGeom>
                <a:avLst/>
                <a:gdLst>
                  <a:gd name="T0" fmla="*/ 0 w 116"/>
                  <a:gd name="T1" fmla="*/ 4 h 45"/>
                  <a:gd name="T2" fmla="*/ 0 w 116"/>
                  <a:gd name="T3" fmla="*/ 45 h 45"/>
                  <a:gd name="T4" fmla="*/ 116 w 116"/>
                  <a:gd name="T5" fmla="*/ 45 h 45"/>
                  <a:gd name="T6" fmla="*/ 116 w 116"/>
                  <a:gd name="T7" fmla="*/ 0 h 45"/>
                  <a:gd name="T8" fmla="*/ 0 w 116"/>
                  <a:gd name="T9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45">
                    <a:moveTo>
                      <a:pt x="0" y="4"/>
                    </a:moveTo>
                    <a:lnTo>
                      <a:pt x="0" y="45"/>
                    </a:lnTo>
                    <a:lnTo>
                      <a:pt x="116" y="45"/>
                    </a:lnTo>
                    <a:lnTo>
                      <a:pt x="116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50">
                <a:extLst>
                  <a:ext uri="{FF2B5EF4-FFF2-40B4-BE49-F238E27FC236}">
                    <a16:creationId xmlns:a16="http://schemas.microsoft.com/office/drawing/2014/main" id="{D3F4834A-C817-42B7-AAD7-E55B7F8EA6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2" y="3850"/>
                <a:ext cx="121" cy="19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Rectangle 52">
                <a:extLst>
                  <a:ext uri="{FF2B5EF4-FFF2-40B4-BE49-F238E27FC236}">
                    <a16:creationId xmlns:a16="http://schemas.microsoft.com/office/drawing/2014/main" id="{5A595C46-9C5B-4714-837A-88E8E33373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53">
                <a:extLst>
                  <a:ext uri="{FF2B5EF4-FFF2-40B4-BE49-F238E27FC236}">
                    <a16:creationId xmlns:a16="http://schemas.microsoft.com/office/drawing/2014/main" id="{5C244150-D511-40E1-8221-391E47F10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896"/>
                <a:ext cx="253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54">
                <a:extLst>
                  <a:ext uri="{FF2B5EF4-FFF2-40B4-BE49-F238E27FC236}">
                    <a16:creationId xmlns:a16="http://schemas.microsoft.com/office/drawing/2014/main" id="{BE54E5A3-2F05-40BB-AFD1-CFCEAF9E5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" y="894"/>
                <a:ext cx="2541" cy="1672"/>
              </a:xfrm>
              <a:custGeom>
                <a:avLst/>
                <a:gdLst>
                  <a:gd name="T0" fmla="*/ 1071 w 1071"/>
                  <a:gd name="T1" fmla="*/ 703 h 704"/>
                  <a:gd name="T2" fmla="*/ 1070 w 1071"/>
                  <a:gd name="T3" fmla="*/ 1 h 704"/>
                  <a:gd name="T4" fmla="*/ 1071 w 1071"/>
                  <a:gd name="T5" fmla="*/ 2 h 704"/>
                  <a:gd name="T6" fmla="*/ 1 w 1071"/>
                  <a:gd name="T7" fmla="*/ 2 h 704"/>
                  <a:gd name="T8" fmla="*/ 1 w 1071"/>
                  <a:gd name="T9" fmla="*/ 2 h 704"/>
                  <a:gd name="T10" fmla="*/ 2 w 1071"/>
                  <a:gd name="T11" fmla="*/ 1 h 704"/>
                  <a:gd name="T12" fmla="*/ 2 w 1071"/>
                  <a:gd name="T13" fmla="*/ 703 h 704"/>
                  <a:gd name="T14" fmla="*/ 1 w 1071"/>
                  <a:gd name="T15" fmla="*/ 702 h 704"/>
                  <a:gd name="T16" fmla="*/ 1071 w 1071"/>
                  <a:gd name="T17" fmla="*/ 703 h 704"/>
                  <a:gd name="T18" fmla="*/ 1 w 1071"/>
                  <a:gd name="T19" fmla="*/ 704 h 704"/>
                  <a:gd name="T20" fmla="*/ 0 w 1071"/>
                  <a:gd name="T21" fmla="*/ 704 h 704"/>
                  <a:gd name="T22" fmla="*/ 0 w 1071"/>
                  <a:gd name="T23" fmla="*/ 703 h 704"/>
                  <a:gd name="T24" fmla="*/ 0 w 1071"/>
                  <a:gd name="T25" fmla="*/ 1 h 704"/>
                  <a:gd name="T26" fmla="*/ 0 w 1071"/>
                  <a:gd name="T27" fmla="*/ 0 h 704"/>
                  <a:gd name="T28" fmla="*/ 1 w 1071"/>
                  <a:gd name="T29" fmla="*/ 0 h 704"/>
                  <a:gd name="T30" fmla="*/ 1 w 1071"/>
                  <a:gd name="T31" fmla="*/ 0 h 704"/>
                  <a:gd name="T32" fmla="*/ 1071 w 1071"/>
                  <a:gd name="T33" fmla="*/ 0 h 704"/>
                  <a:gd name="T34" fmla="*/ 1071 w 1071"/>
                  <a:gd name="T35" fmla="*/ 0 h 704"/>
                  <a:gd name="T36" fmla="*/ 1071 w 1071"/>
                  <a:gd name="T37" fmla="*/ 1 h 704"/>
                  <a:gd name="T38" fmla="*/ 1071 w 1071"/>
                  <a:gd name="T39" fmla="*/ 703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71" h="704">
                    <a:moveTo>
                      <a:pt x="1071" y="703"/>
                    </a:moveTo>
                    <a:cubicBezTo>
                      <a:pt x="1071" y="696"/>
                      <a:pt x="1070" y="429"/>
                      <a:pt x="1070" y="1"/>
                    </a:cubicBezTo>
                    <a:cubicBezTo>
                      <a:pt x="1071" y="2"/>
                      <a:pt x="1071" y="2"/>
                      <a:pt x="1071" y="2"/>
                    </a:cubicBezTo>
                    <a:cubicBezTo>
                      <a:pt x="777" y="2"/>
                      <a:pt x="405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51"/>
                      <a:pt x="2" y="488"/>
                      <a:pt x="2" y="703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630" y="702"/>
                      <a:pt x="1062" y="703"/>
                      <a:pt x="1071" y="703"/>
                    </a:cubicBezTo>
                    <a:cubicBezTo>
                      <a:pt x="1062" y="703"/>
                      <a:pt x="630" y="703"/>
                      <a:pt x="1" y="704"/>
                    </a:cubicBezTo>
                    <a:cubicBezTo>
                      <a:pt x="0" y="704"/>
                      <a:pt x="0" y="704"/>
                      <a:pt x="0" y="704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488"/>
                      <a:pt x="0" y="25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405" y="0"/>
                      <a:pt x="777" y="0"/>
                      <a:pt x="1071" y="0"/>
                    </a:cubicBezTo>
                    <a:cubicBezTo>
                      <a:pt x="1071" y="0"/>
                      <a:pt x="1071" y="0"/>
                      <a:pt x="1071" y="0"/>
                    </a:cubicBezTo>
                    <a:cubicBezTo>
                      <a:pt x="1071" y="1"/>
                      <a:pt x="1071" y="1"/>
                      <a:pt x="1071" y="1"/>
                    </a:cubicBezTo>
                    <a:cubicBezTo>
                      <a:pt x="1071" y="429"/>
                      <a:pt x="1071" y="696"/>
                      <a:pt x="1071" y="703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55">
                <a:extLst>
                  <a:ext uri="{FF2B5EF4-FFF2-40B4-BE49-F238E27FC236}">
                    <a16:creationId xmlns:a16="http://schemas.microsoft.com/office/drawing/2014/main" id="{22980C39-D153-415D-BB11-135EE7243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6" y="1817"/>
                <a:ext cx="252" cy="245"/>
              </a:xfrm>
              <a:custGeom>
                <a:avLst/>
                <a:gdLst>
                  <a:gd name="T0" fmla="*/ 1 w 106"/>
                  <a:gd name="T1" fmla="*/ 0 h 103"/>
                  <a:gd name="T2" fmla="*/ 106 w 106"/>
                  <a:gd name="T3" fmla="*/ 1 h 103"/>
                  <a:gd name="T4" fmla="*/ 1 w 106"/>
                  <a:gd name="T5" fmla="*/ 103 h 103"/>
                  <a:gd name="T6" fmla="*/ 0 w 106"/>
                  <a:gd name="T7" fmla="*/ 103 h 103"/>
                  <a:gd name="T8" fmla="*/ 1 w 106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03">
                    <a:moveTo>
                      <a:pt x="1" y="0"/>
                    </a:moveTo>
                    <a:cubicBezTo>
                      <a:pt x="106" y="1"/>
                      <a:pt x="106" y="1"/>
                      <a:pt x="106" y="1"/>
                    </a:cubicBezTo>
                    <a:cubicBezTo>
                      <a:pt x="105" y="57"/>
                      <a:pt x="58" y="103"/>
                      <a:pt x="1" y="103"/>
                    </a:cubicBezTo>
                    <a:cubicBezTo>
                      <a:pt x="0" y="103"/>
                      <a:pt x="0" y="103"/>
                      <a:pt x="0" y="10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56">
                <a:extLst>
                  <a:ext uri="{FF2B5EF4-FFF2-40B4-BE49-F238E27FC236}">
                    <a16:creationId xmlns:a16="http://schemas.microsoft.com/office/drawing/2014/main" id="{44E47384-AF5C-4AE0-9E51-9A2816258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1965"/>
                <a:ext cx="327" cy="192"/>
              </a:xfrm>
              <a:custGeom>
                <a:avLst/>
                <a:gdLst>
                  <a:gd name="T0" fmla="*/ 138 w 138"/>
                  <a:gd name="T1" fmla="*/ 80 h 81"/>
                  <a:gd name="T2" fmla="*/ 136 w 138"/>
                  <a:gd name="T3" fmla="*/ 80 h 81"/>
                  <a:gd name="T4" fmla="*/ 129 w 138"/>
                  <a:gd name="T5" fmla="*/ 80 h 81"/>
                  <a:gd name="T6" fmla="*/ 106 w 138"/>
                  <a:gd name="T7" fmla="*/ 81 h 81"/>
                  <a:gd name="T8" fmla="*/ 105 w 138"/>
                  <a:gd name="T9" fmla="*/ 81 h 81"/>
                  <a:gd name="T10" fmla="*/ 105 w 138"/>
                  <a:gd name="T11" fmla="*/ 80 h 81"/>
                  <a:gd name="T12" fmla="*/ 71 w 138"/>
                  <a:gd name="T13" fmla="*/ 37 h 81"/>
                  <a:gd name="T14" fmla="*/ 43 w 138"/>
                  <a:gd name="T15" fmla="*/ 1 h 81"/>
                  <a:gd name="T16" fmla="*/ 43 w 138"/>
                  <a:gd name="T17" fmla="*/ 1 h 81"/>
                  <a:gd name="T18" fmla="*/ 12 w 138"/>
                  <a:gd name="T19" fmla="*/ 1 h 81"/>
                  <a:gd name="T20" fmla="*/ 4 w 138"/>
                  <a:gd name="T21" fmla="*/ 1 h 81"/>
                  <a:gd name="T22" fmla="*/ 0 w 138"/>
                  <a:gd name="T23" fmla="*/ 1 h 81"/>
                  <a:gd name="T24" fmla="*/ 4 w 138"/>
                  <a:gd name="T25" fmla="*/ 0 h 81"/>
                  <a:gd name="T26" fmla="*/ 12 w 138"/>
                  <a:gd name="T27" fmla="*/ 0 h 81"/>
                  <a:gd name="T28" fmla="*/ 43 w 138"/>
                  <a:gd name="T29" fmla="*/ 0 h 81"/>
                  <a:gd name="T30" fmla="*/ 43 w 138"/>
                  <a:gd name="T31" fmla="*/ 0 h 81"/>
                  <a:gd name="T32" fmla="*/ 44 w 138"/>
                  <a:gd name="T33" fmla="*/ 0 h 81"/>
                  <a:gd name="T34" fmla="*/ 72 w 138"/>
                  <a:gd name="T35" fmla="*/ 36 h 81"/>
                  <a:gd name="T36" fmla="*/ 106 w 138"/>
                  <a:gd name="T37" fmla="*/ 80 h 81"/>
                  <a:gd name="T38" fmla="*/ 106 w 138"/>
                  <a:gd name="T39" fmla="*/ 79 h 81"/>
                  <a:gd name="T40" fmla="*/ 129 w 138"/>
                  <a:gd name="T41" fmla="*/ 80 h 81"/>
                  <a:gd name="T42" fmla="*/ 136 w 138"/>
                  <a:gd name="T43" fmla="*/ 80 h 81"/>
                  <a:gd name="T44" fmla="*/ 138 w 138"/>
                  <a:gd name="T45" fmla="*/ 8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8" h="81">
                    <a:moveTo>
                      <a:pt x="138" y="80"/>
                    </a:moveTo>
                    <a:cubicBezTo>
                      <a:pt x="138" y="80"/>
                      <a:pt x="137" y="80"/>
                      <a:pt x="136" y="80"/>
                    </a:cubicBezTo>
                    <a:cubicBezTo>
                      <a:pt x="134" y="80"/>
                      <a:pt x="132" y="80"/>
                      <a:pt x="129" y="80"/>
                    </a:cubicBezTo>
                    <a:cubicBezTo>
                      <a:pt x="123" y="80"/>
                      <a:pt x="115" y="80"/>
                      <a:pt x="106" y="81"/>
                    </a:cubicBezTo>
                    <a:cubicBezTo>
                      <a:pt x="105" y="81"/>
                      <a:pt x="105" y="81"/>
                      <a:pt x="105" y="81"/>
                    </a:cubicBezTo>
                    <a:cubicBezTo>
                      <a:pt x="105" y="80"/>
                      <a:pt x="105" y="80"/>
                      <a:pt x="105" y="80"/>
                    </a:cubicBezTo>
                    <a:cubicBezTo>
                      <a:pt x="96" y="68"/>
                      <a:pt x="84" y="53"/>
                      <a:pt x="71" y="37"/>
                    </a:cubicBezTo>
                    <a:cubicBezTo>
                      <a:pt x="60" y="24"/>
                      <a:pt x="51" y="11"/>
                      <a:pt x="43" y="1"/>
                    </a:cubicBezTo>
                    <a:cubicBezTo>
                      <a:pt x="43" y="1"/>
                      <a:pt x="43" y="1"/>
                      <a:pt x="43" y="1"/>
                    </a:cubicBezTo>
                    <a:cubicBezTo>
                      <a:pt x="30" y="1"/>
                      <a:pt x="20" y="1"/>
                      <a:pt x="12" y="1"/>
                    </a:cubicBezTo>
                    <a:cubicBezTo>
                      <a:pt x="9" y="1"/>
                      <a:pt x="6" y="1"/>
                      <a:pt x="4" y="1"/>
                    </a:cubicBezTo>
                    <a:cubicBezTo>
                      <a:pt x="2" y="1"/>
                      <a:pt x="0" y="1"/>
                      <a:pt x="0" y="1"/>
                    </a:cubicBezTo>
                    <a:cubicBezTo>
                      <a:pt x="0" y="0"/>
                      <a:pt x="2" y="0"/>
                      <a:pt x="4" y="0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20" y="0"/>
                      <a:pt x="30" y="0"/>
                      <a:pt x="43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2" y="10"/>
                      <a:pt x="62" y="23"/>
                      <a:pt x="72" y="36"/>
                    </a:cubicBezTo>
                    <a:cubicBezTo>
                      <a:pt x="85" y="52"/>
                      <a:pt x="97" y="68"/>
                      <a:pt x="106" y="80"/>
                    </a:cubicBezTo>
                    <a:cubicBezTo>
                      <a:pt x="106" y="79"/>
                      <a:pt x="106" y="79"/>
                      <a:pt x="106" y="79"/>
                    </a:cubicBezTo>
                    <a:cubicBezTo>
                      <a:pt x="115" y="79"/>
                      <a:pt x="123" y="80"/>
                      <a:pt x="129" y="80"/>
                    </a:cubicBezTo>
                    <a:cubicBezTo>
                      <a:pt x="132" y="80"/>
                      <a:pt x="134" y="80"/>
                      <a:pt x="136" y="80"/>
                    </a:cubicBezTo>
                    <a:cubicBezTo>
                      <a:pt x="137" y="80"/>
                      <a:pt x="138" y="80"/>
                      <a:pt x="138" y="8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Oval 57">
                <a:extLst>
                  <a:ext uri="{FF2B5EF4-FFF2-40B4-BE49-F238E27FC236}">
                    <a16:creationId xmlns:a16="http://schemas.microsoft.com/office/drawing/2014/main" id="{5B88EDB7-E9E2-4578-9696-6465F390B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181"/>
                <a:ext cx="161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Oval 58">
                <a:extLst>
                  <a:ext uri="{FF2B5EF4-FFF2-40B4-BE49-F238E27FC236}">
                    <a16:creationId xmlns:a16="http://schemas.microsoft.com/office/drawing/2014/main" id="{C4268AC8-FF21-4537-9115-B25884390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0" y="2212"/>
                <a:ext cx="161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59">
                <a:extLst>
                  <a:ext uri="{FF2B5EF4-FFF2-40B4-BE49-F238E27FC236}">
                    <a16:creationId xmlns:a16="http://schemas.microsoft.com/office/drawing/2014/main" id="{5683DA96-C432-4466-9D17-6B6E383F8A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9" y="1535"/>
                <a:ext cx="501" cy="491"/>
              </a:xfrm>
              <a:custGeom>
                <a:avLst/>
                <a:gdLst>
                  <a:gd name="T0" fmla="*/ 105 w 211"/>
                  <a:gd name="T1" fmla="*/ 104 h 207"/>
                  <a:gd name="T2" fmla="*/ 104 w 211"/>
                  <a:gd name="T3" fmla="*/ 207 h 207"/>
                  <a:gd name="T4" fmla="*/ 0 w 211"/>
                  <a:gd name="T5" fmla="*/ 104 h 207"/>
                  <a:gd name="T6" fmla="*/ 105 w 211"/>
                  <a:gd name="T7" fmla="*/ 0 h 207"/>
                  <a:gd name="T8" fmla="*/ 211 w 211"/>
                  <a:gd name="T9" fmla="*/ 104 h 207"/>
                  <a:gd name="T10" fmla="*/ 105 w 211"/>
                  <a:gd name="T11" fmla="*/ 104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1" h="207">
                    <a:moveTo>
                      <a:pt x="105" y="104"/>
                    </a:moveTo>
                    <a:cubicBezTo>
                      <a:pt x="104" y="207"/>
                      <a:pt x="104" y="207"/>
                      <a:pt x="104" y="207"/>
                    </a:cubicBezTo>
                    <a:cubicBezTo>
                      <a:pt x="47" y="206"/>
                      <a:pt x="0" y="160"/>
                      <a:pt x="0" y="104"/>
                    </a:cubicBezTo>
                    <a:cubicBezTo>
                      <a:pt x="0" y="47"/>
                      <a:pt x="48" y="0"/>
                      <a:pt x="105" y="0"/>
                    </a:cubicBezTo>
                    <a:cubicBezTo>
                      <a:pt x="163" y="0"/>
                      <a:pt x="211" y="47"/>
                      <a:pt x="211" y="104"/>
                    </a:cubicBezTo>
                    <a:lnTo>
                      <a:pt x="105" y="104"/>
                    </a:ln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60">
                <a:extLst>
                  <a:ext uri="{FF2B5EF4-FFF2-40B4-BE49-F238E27FC236}">
                    <a16:creationId xmlns:a16="http://schemas.microsoft.com/office/drawing/2014/main" id="{EA586A44-D556-443A-94F7-3B0239BCF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5" y="1547"/>
                <a:ext cx="226" cy="164"/>
              </a:xfrm>
              <a:custGeom>
                <a:avLst/>
                <a:gdLst>
                  <a:gd name="T0" fmla="*/ 95 w 95"/>
                  <a:gd name="T1" fmla="*/ 65 h 69"/>
                  <a:gd name="T2" fmla="*/ 94 w 95"/>
                  <a:gd name="T3" fmla="*/ 65 h 69"/>
                  <a:gd name="T4" fmla="*/ 88 w 95"/>
                  <a:gd name="T5" fmla="*/ 66 h 69"/>
                  <a:gd name="T6" fmla="*/ 69 w 95"/>
                  <a:gd name="T7" fmla="*/ 69 h 69"/>
                  <a:gd name="T8" fmla="*/ 69 w 95"/>
                  <a:gd name="T9" fmla="*/ 69 h 69"/>
                  <a:gd name="T10" fmla="*/ 69 w 95"/>
                  <a:gd name="T11" fmla="*/ 69 h 69"/>
                  <a:gd name="T12" fmla="*/ 44 w 95"/>
                  <a:gd name="T13" fmla="*/ 44 h 69"/>
                  <a:gd name="T14" fmla="*/ 13 w 95"/>
                  <a:gd name="T15" fmla="*/ 13 h 69"/>
                  <a:gd name="T16" fmla="*/ 4 w 95"/>
                  <a:gd name="T17" fmla="*/ 4 h 69"/>
                  <a:gd name="T18" fmla="*/ 0 w 95"/>
                  <a:gd name="T19" fmla="*/ 0 h 69"/>
                  <a:gd name="T20" fmla="*/ 4 w 95"/>
                  <a:gd name="T21" fmla="*/ 4 h 69"/>
                  <a:gd name="T22" fmla="*/ 14 w 95"/>
                  <a:gd name="T23" fmla="*/ 13 h 69"/>
                  <a:gd name="T24" fmla="*/ 45 w 95"/>
                  <a:gd name="T25" fmla="*/ 43 h 69"/>
                  <a:gd name="T26" fmla="*/ 70 w 95"/>
                  <a:gd name="T27" fmla="*/ 68 h 69"/>
                  <a:gd name="T28" fmla="*/ 69 w 95"/>
                  <a:gd name="T29" fmla="*/ 67 h 69"/>
                  <a:gd name="T30" fmla="*/ 88 w 95"/>
                  <a:gd name="T31" fmla="*/ 65 h 69"/>
                  <a:gd name="T32" fmla="*/ 93 w 95"/>
                  <a:gd name="T33" fmla="*/ 65 h 69"/>
                  <a:gd name="T34" fmla="*/ 95 w 95"/>
                  <a:gd name="T35" fmla="*/ 6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69">
                    <a:moveTo>
                      <a:pt x="95" y="65"/>
                    </a:moveTo>
                    <a:cubicBezTo>
                      <a:pt x="95" y="65"/>
                      <a:pt x="95" y="65"/>
                      <a:pt x="94" y="65"/>
                    </a:cubicBezTo>
                    <a:cubicBezTo>
                      <a:pt x="92" y="65"/>
                      <a:pt x="90" y="66"/>
                      <a:pt x="88" y="66"/>
                    </a:cubicBezTo>
                    <a:cubicBezTo>
                      <a:pt x="83" y="67"/>
                      <a:pt x="77" y="68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62" y="62"/>
                      <a:pt x="53" y="53"/>
                      <a:pt x="44" y="44"/>
                    </a:cubicBezTo>
                    <a:cubicBezTo>
                      <a:pt x="32" y="32"/>
                      <a:pt x="21" y="21"/>
                      <a:pt x="13" y="13"/>
                    </a:cubicBezTo>
                    <a:cubicBezTo>
                      <a:pt x="9" y="10"/>
                      <a:pt x="6" y="6"/>
                      <a:pt x="4" y="4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ubicBezTo>
                      <a:pt x="7" y="6"/>
                      <a:pt x="10" y="9"/>
                      <a:pt x="14" y="13"/>
                    </a:cubicBezTo>
                    <a:cubicBezTo>
                      <a:pt x="22" y="20"/>
                      <a:pt x="33" y="31"/>
                      <a:pt x="45" y="43"/>
                    </a:cubicBezTo>
                    <a:cubicBezTo>
                      <a:pt x="54" y="52"/>
                      <a:pt x="63" y="61"/>
                      <a:pt x="70" y="68"/>
                    </a:cubicBezTo>
                    <a:cubicBezTo>
                      <a:pt x="69" y="67"/>
                      <a:pt x="69" y="67"/>
                      <a:pt x="69" y="67"/>
                    </a:cubicBezTo>
                    <a:cubicBezTo>
                      <a:pt x="77" y="67"/>
                      <a:pt x="83" y="66"/>
                      <a:pt x="88" y="65"/>
                    </a:cubicBezTo>
                    <a:cubicBezTo>
                      <a:pt x="90" y="65"/>
                      <a:pt x="92" y="65"/>
                      <a:pt x="93" y="65"/>
                    </a:cubicBezTo>
                    <a:cubicBezTo>
                      <a:pt x="95" y="65"/>
                      <a:pt x="95" y="65"/>
                      <a:pt x="95" y="6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Oval 61">
                <a:extLst>
                  <a:ext uri="{FF2B5EF4-FFF2-40B4-BE49-F238E27FC236}">
                    <a16:creationId xmlns:a16="http://schemas.microsoft.com/office/drawing/2014/main" id="{8699DB60-FF3E-4D5B-8CD6-6194C778A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35"/>
                <a:ext cx="16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Oval 62">
                <a:extLst>
                  <a:ext uri="{FF2B5EF4-FFF2-40B4-BE49-F238E27FC236}">
                    <a16:creationId xmlns:a16="http://schemas.microsoft.com/office/drawing/2014/main" id="{09B92D13-2674-4470-A8BC-23F190847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2" y="1566"/>
                <a:ext cx="162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Freeform 63">
                <a:extLst>
                  <a:ext uri="{FF2B5EF4-FFF2-40B4-BE49-F238E27FC236}">
                    <a16:creationId xmlns:a16="http://schemas.microsoft.com/office/drawing/2014/main" id="{DB4E3D83-0D23-42B4-A9D1-B51AFDEBA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" y="1145"/>
                <a:ext cx="192" cy="228"/>
              </a:xfrm>
              <a:custGeom>
                <a:avLst/>
                <a:gdLst>
                  <a:gd name="T0" fmla="*/ 81 w 81"/>
                  <a:gd name="T1" fmla="*/ 64 h 96"/>
                  <a:gd name="T2" fmla="*/ 81 w 81"/>
                  <a:gd name="T3" fmla="*/ 0 h 96"/>
                  <a:gd name="T4" fmla="*/ 28 w 81"/>
                  <a:gd name="T5" fmla="*/ 20 h 96"/>
                  <a:gd name="T6" fmla="*/ 3 w 81"/>
                  <a:gd name="T7" fmla="*/ 87 h 96"/>
                  <a:gd name="T8" fmla="*/ 4 w 81"/>
                  <a:gd name="T9" fmla="*/ 96 h 96"/>
                  <a:gd name="T10" fmla="*/ 4 w 81"/>
                  <a:gd name="T11" fmla="*/ 96 h 96"/>
                  <a:gd name="T12" fmla="*/ 4 w 81"/>
                  <a:gd name="T13" fmla="*/ 96 h 96"/>
                  <a:gd name="T14" fmla="*/ 81 w 81"/>
                  <a:gd name="T15" fmla="*/ 79 h 96"/>
                  <a:gd name="T16" fmla="*/ 81 w 81"/>
                  <a:gd name="T17" fmla="*/ 6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96">
                    <a:moveTo>
                      <a:pt x="81" y="64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62" y="0"/>
                      <a:pt x="43" y="7"/>
                      <a:pt x="28" y="20"/>
                    </a:cubicBezTo>
                    <a:cubicBezTo>
                      <a:pt x="11" y="36"/>
                      <a:pt x="0" y="59"/>
                      <a:pt x="3" y="87"/>
                    </a:cubicBezTo>
                    <a:cubicBezTo>
                      <a:pt x="3" y="90"/>
                      <a:pt x="3" y="93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4" y="96"/>
                      <a:pt x="4" y="96"/>
                      <a:pt x="4" y="96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64"/>
                      <a:pt x="81" y="64"/>
                      <a:pt x="81" y="6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Freeform 64">
                <a:extLst>
                  <a:ext uri="{FF2B5EF4-FFF2-40B4-BE49-F238E27FC236}">
                    <a16:creationId xmlns:a16="http://schemas.microsoft.com/office/drawing/2014/main" id="{8AAA08AE-6DB4-42C5-A37A-3F05C6DF6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" y="1145"/>
                <a:ext cx="187" cy="228"/>
              </a:xfrm>
              <a:custGeom>
                <a:avLst/>
                <a:gdLst>
                  <a:gd name="T0" fmla="*/ 79 w 79"/>
                  <a:gd name="T1" fmla="*/ 0 h 96"/>
                  <a:gd name="T2" fmla="*/ 26 w 79"/>
                  <a:gd name="T3" fmla="*/ 20 h 96"/>
                  <a:gd name="T4" fmla="*/ 0 w 79"/>
                  <a:gd name="T5" fmla="*/ 77 h 96"/>
                  <a:gd name="T6" fmla="*/ 1 w 79"/>
                  <a:gd name="T7" fmla="*/ 87 h 96"/>
                  <a:gd name="T8" fmla="*/ 2 w 79"/>
                  <a:gd name="T9" fmla="*/ 96 h 96"/>
                  <a:gd name="T10" fmla="*/ 2 w 79"/>
                  <a:gd name="T11" fmla="*/ 96 h 96"/>
                  <a:gd name="T12" fmla="*/ 2 w 79"/>
                  <a:gd name="T13" fmla="*/ 96 h 96"/>
                  <a:gd name="T14" fmla="*/ 79 w 79"/>
                  <a:gd name="T15" fmla="*/ 79 h 96"/>
                  <a:gd name="T16" fmla="*/ 79 w 79"/>
                  <a:gd name="T17" fmla="*/ 64 h 96"/>
                  <a:gd name="T18" fmla="*/ 79 w 79"/>
                  <a:gd name="T1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6">
                    <a:moveTo>
                      <a:pt x="79" y="0"/>
                    </a:moveTo>
                    <a:cubicBezTo>
                      <a:pt x="60" y="0"/>
                      <a:pt x="41" y="7"/>
                      <a:pt x="26" y="20"/>
                    </a:cubicBezTo>
                    <a:cubicBezTo>
                      <a:pt x="11" y="34"/>
                      <a:pt x="0" y="54"/>
                      <a:pt x="0" y="77"/>
                    </a:cubicBezTo>
                    <a:cubicBezTo>
                      <a:pt x="0" y="80"/>
                      <a:pt x="0" y="84"/>
                      <a:pt x="1" y="87"/>
                    </a:cubicBezTo>
                    <a:cubicBezTo>
                      <a:pt x="1" y="90"/>
                      <a:pt x="1" y="93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79" y="79"/>
                      <a:pt x="79" y="79"/>
                      <a:pt x="79" y="79"/>
                    </a:cubicBezTo>
                    <a:cubicBezTo>
                      <a:pt x="79" y="64"/>
                      <a:pt x="79" y="64"/>
                      <a:pt x="79" y="64"/>
                    </a:cubicBezTo>
                    <a:cubicBezTo>
                      <a:pt x="79" y="0"/>
                      <a:pt x="79" y="0"/>
                      <a:pt x="79" y="0"/>
                    </a:cubicBezTo>
                  </a:path>
                </a:pathLst>
              </a:cu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Freeform 65">
                <a:extLst>
                  <a:ext uri="{FF2B5EF4-FFF2-40B4-BE49-F238E27FC236}">
                    <a16:creationId xmlns:a16="http://schemas.microsoft.com/office/drawing/2014/main" id="{A12033BD-9354-4B8A-B8F7-98B78CE4A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71 w 79"/>
                  <a:gd name="T1" fmla="*/ 44 h 96"/>
                  <a:gd name="T2" fmla="*/ 9 w 79"/>
                  <a:gd name="T3" fmla="*/ 0 h 96"/>
                  <a:gd name="T4" fmla="*/ 6 w 79"/>
                  <a:gd name="T5" fmla="*/ 0 h 96"/>
                  <a:gd name="T6" fmla="*/ 5 w 79"/>
                  <a:gd name="T7" fmla="*/ 0 h 96"/>
                  <a:gd name="T8" fmla="*/ 0 w 79"/>
                  <a:gd name="T9" fmla="*/ 0 h 96"/>
                  <a:gd name="T10" fmla="*/ 0 w 79"/>
                  <a:gd name="T11" fmla="*/ 0 h 96"/>
                  <a:gd name="T12" fmla="*/ 0 w 79"/>
                  <a:gd name="T13" fmla="*/ 0 h 96"/>
                  <a:gd name="T14" fmla="*/ 0 w 79"/>
                  <a:gd name="T15" fmla="*/ 0 h 96"/>
                  <a:gd name="T16" fmla="*/ 0 w 79"/>
                  <a:gd name="T17" fmla="*/ 0 h 96"/>
                  <a:gd name="T18" fmla="*/ 0 w 79"/>
                  <a:gd name="T19" fmla="*/ 0 h 96"/>
                  <a:gd name="T20" fmla="*/ 0 w 79"/>
                  <a:gd name="T21" fmla="*/ 64 h 96"/>
                  <a:gd name="T22" fmla="*/ 0 w 79"/>
                  <a:gd name="T23" fmla="*/ 79 h 96"/>
                  <a:gd name="T24" fmla="*/ 77 w 79"/>
                  <a:gd name="T25" fmla="*/ 96 h 96"/>
                  <a:gd name="T26" fmla="*/ 77 w 79"/>
                  <a:gd name="T27" fmla="*/ 96 h 96"/>
                  <a:gd name="T28" fmla="*/ 79 w 79"/>
                  <a:gd name="T29" fmla="*/ 79 h 96"/>
                  <a:gd name="T30" fmla="*/ 71 w 79"/>
                  <a:gd name="T31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96">
                    <a:moveTo>
                      <a:pt x="71" y="44"/>
                    </a:move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Freeform 66">
                <a:extLst>
                  <a:ext uri="{FF2B5EF4-FFF2-40B4-BE49-F238E27FC236}">
                    <a16:creationId xmlns:a16="http://schemas.microsoft.com/office/drawing/2014/main" id="{0657D886-5C84-4FAB-A7E9-2FE40C6FF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3" y="1145"/>
                <a:ext cx="187" cy="228"/>
              </a:xfrm>
              <a:custGeom>
                <a:avLst/>
                <a:gdLst>
                  <a:gd name="T0" fmla="*/ 0 w 79"/>
                  <a:gd name="T1" fmla="*/ 0 h 96"/>
                  <a:gd name="T2" fmla="*/ 0 w 79"/>
                  <a:gd name="T3" fmla="*/ 0 h 96"/>
                  <a:gd name="T4" fmla="*/ 0 w 79"/>
                  <a:gd name="T5" fmla="*/ 0 h 96"/>
                  <a:gd name="T6" fmla="*/ 0 w 79"/>
                  <a:gd name="T7" fmla="*/ 64 h 96"/>
                  <a:gd name="T8" fmla="*/ 0 w 79"/>
                  <a:gd name="T9" fmla="*/ 79 h 96"/>
                  <a:gd name="T10" fmla="*/ 77 w 79"/>
                  <a:gd name="T11" fmla="*/ 96 h 96"/>
                  <a:gd name="T12" fmla="*/ 77 w 79"/>
                  <a:gd name="T13" fmla="*/ 96 h 96"/>
                  <a:gd name="T14" fmla="*/ 79 w 79"/>
                  <a:gd name="T15" fmla="*/ 80 h 96"/>
                  <a:gd name="T16" fmla="*/ 79 w 79"/>
                  <a:gd name="T17" fmla="*/ 79 h 96"/>
                  <a:gd name="T18" fmla="*/ 71 w 79"/>
                  <a:gd name="T19" fmla="*/ 44 h 96"/>
                  <a:gd name="T20" fmla="*/ 9 w 79"/>
                  <a:gd name="T21" fmla="*/ 0 h 96"/>
                  <a:gd name="T22" fmla="*/ 6 w 79"/>
                  <a:gd name="T23" fmla="*/ 0 h 96"/>
                  <a:gd name="T24" fmla="*/ 5 w 79"/>
                  <a:gd name="T25" fmla="*/ 0 h 96"/>
                  <a:gd name="T26" fmla="*/ 0 w 79"/>
                  <a:gd name="T27" fmla="*/ 0 h 96"/>
                  <a:gd name="T28" fmla="*/ 0 w 79"/>
                  <a:gd name="T29" fmla="*/ 0 h 96"/>
                  <a:gd name="T30" fmla="*/ 0 w 79"/>
                  <a:gd name="T31" fmla="*/ 0 h 96"/>
                  <a:gd name="T32" fmla="*/ 0 w 79"/>
                  <a:gd name="T3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9" h="9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7" y="96"/>
                      <a:pt x="77" y="96"/>
                      <a:pt x="77" y="96"/>
                    </a:cubicBezTo>
                    <a:cubicBezTo>
                      <a:pt x="79" y="91"/>
                      <a:pt x="79" y="85"/>
                      <a:pt x="79" y="80"/>
                    </a:cubicBezTo>
                    <a:cubicBezTo>
                      <a:pt x="79" y="80"/>
                      <a:pt x="79" y="79"/>
                      <a:pt x="79" y="79"/>
                    </a:cubicBezTo>
                    <a:cubicBezTo>
                      <a:pt x="79" y="67"/>
                      <a:pt x="76" y="55"/>
                      <a:pt x="71" y="44"/>
                    </a:cubicBezTo>
                    <a:cubicBezTo>
                      <a:pt x="60" y="21"/>
                      <a:pt x="39" y="3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  <a:cubicBezTo>
                      <a:pt x="3" y="0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23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Freeform 67">
                <a:extLst>
                  <a:ext uri="{FF2B5EF4-FFF2-40B4-BE49-F238E27FC236}">
                    <a16:creationId xmlns:a16="http://schemas.microsoft.com/office/drawing/2014/main" id="{14B1BAC6-92F9-4AE1-A360-3F3B34E78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1352"/>
                <a:ext cx="368" cy="188"/>
              </a:xfrm>
              <a:custGeom>
                <a:avLst/>
                <a:gdLst>
                  <a:gd name="T0" fmla="*/ 78 w 155"/>
                  <a:gd name="T1" fmla="*/ 0 h 79"/>
                  <a:gd name="T2" fmla="*/ 0 w 155"/>
                  <a:gd name="T3" fmla="*/ 17 h 79"/>
                  <a:gd name="T4" fmla="*/ 78 w 155"/>
                  <a:gd name="T5" fmla="*/ 79 h 79"/>
                  <a:gd name="T6" fmla="*/ 155 w 155"/>
                  <a:gd name="T7" fmla="*/ 17 h 79"/>
                  <a:gd name="T8" fmla="*/ 78 w 155"/>
                  <a:gd name="T9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5" h="79">
                    <a:moveTo>
                      <a:pt x="78" y="0"/>
                    </a:moveTo>
                    <a:cubicBezTo>
                      <a:pt x="0" y="17"/>
                      <a:pt x="0" y="17"/>
                      <a:pt x="0" y="17"/>
                    </a:cubicBezTo>
                    <a:cubicBezTo>
                      <a:pt x="8" y="53"/>
                      <a:pt x="40" y="79"/>
                      <a:pt x="78" y="79"/>
                    </a:cubicBezTo>
                    <a:cubicBezTo>
                      <a:pt x="115" y="79"/>
                      <a:pt x="147" y="52"/>
                      <a:pt x="155" y="17"/>
                    </a:cubicBezTo>
                    <a:cubicBezTo>
                      <a:pt x="78" y="0"/>
                      <a:pt x="78" y="0"/>
                      <a:pt x="78" y="0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Oval 68">
                <a:extLst>
                  <a:ext uri="{FF2B5EF4-FFF2-40B4-BE49-F238E27FC236}">
                    <a16:creationId xmlns:a16="http://schemas.microsoft.com/office/drawing/2014/main" id="{64F53BC4-FE66-43F5-B86B-0237FD23F9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21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Oval 69">
                <a:extLst>
                  <a:ext uri="{FF2B5EF4-FFF2-40B4-BE49-F238E27FC236}">
                    <a16:creationId xmlns:a16="http://schemas.microsoft.com/office/drawing/2014/main" id="{30D072A1-219F-49B9-A57F-318A63EC39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74"/>
                <a:ext cx="422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Oval 70">
                <a:extLst>
                  <a:ext uri="{FF2B5EF4-FFF2-40B4-BE49-F238E27FC236}">
                    <a16:creationId xmlns:a16="http://schemas.microsoft.com/office/drawing/2014/main" id="{873A6C4B-6ED1-4D76-BAE5-0731AE40B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22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Oval 71">
                <a:extLst>
                  <a:ext uri="{FF2B5EF4-FFF2-40B4-BE49-F238E27FC236}">
                    <a16:creationId xmlns:a16="http://schemas.microsoft.com/office/drawing/2014/main" id="{A1C96D8E-C5A6-42B2-80B2-2E8AE869D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366"/>
                <a:ext cx="42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Oval 72">
                <a:extLst>
                  <a:ext uri="{FF2B5EF4-FFF2-40B4-BE49-F238E27FC236}">
                    <a16:creationId xmlns:a16="http://schemas.microsoft.com/office/drawing/2014/main" id="{5AA48BFB-2D2A-4C6D-925C-00761F05F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1416"/>
                <a:ext cx="292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73">
                <a:extLst>
                  <a:ext uri="{FF2B5EF4-FFF2-40B4-BE49-F238E27FC236}">
                    <a16:creationId xmlns:a16="http://schemas.microsoft.com/office/drawing/2014/main" id="{C39D073D-4CCD-4399-811B-AD90C2A6A0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9" y="1768"/>
                <a:ext cx="43" cy="48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74">
                <a:extLst>
                  <a:ext uri="{FF2B5EF4-FFF2-40B4-BE49-F238E27FC236}">
                    <a16:creationId xmlns:a16="http://schemas.microsoft.com/office/drawing/2014/main" id="{BCF42848-51AC-4DD0-901F-68158AC3A9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75">
                <a:extLst>
                  <a:ext uri="{FF2B5EF4-FFF2-40B4-BE49-F238E27FC236}">
                    <a16:creationId xmlns:a16="http://schemas.microsoft.com/office/drawing/2014/main" id="{573B287A-F4F4-48D2-BBA1-0528402CBE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76">
                <a:extLst>
                  <a:ext uri="{FF2B5EF4-FFF2-40B4-BE49-F238E27FC236}">
                    <a16:creationId xmlns:a16="http://schemas.microsoft.com/office/drawing/2014/main" id="{8B5B5E41-1D05-447F-ADA6-CDD5822B7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7" y="1827"/>
                <a:ext cx="43" cy="43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77">
                <a:extLst>
                  <a:ext uri="{FF2B5EF4-FFF2-40B4-BE49-F238E27FC236}">
                    <a16:creationId xmlns:a16="http://schemas.microsoft.com/office/drawing/2014/main" id="{B5FFF6AC-FF6A-493C-B549-476C46A41B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78">
                <a:extLst>
                  <a:ext uri="{FF2B5EF4-FFF2-40B4-BE49-F238E27FC236}">
                    <a16:creationId xmlns:a16="http://schemas.microsoft.com/office/drawing/2014/main" id="{9497685E-AFE7-43E3-A165-C30D3CA1C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79">
                <a:extLst>
                  <a:ext uri="{FF2B5EF4-FFF2-40B4-BE49-F238E27FC236}">
                    <a16:creationId xmlns:a16="http://schemas.microsoft.com/office/drawing/2014/main" id="{A3440CDB-2F7A-4FDD-862F-372F29C4C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6" y="1943"/>
                <a:ext cx="43" cy="311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80">
                <a:extLst>
                  <a:ext uri="{FF2B5EF4-FFF2-40B4-BE49-F238E27FC236}">
                    <a16:creationId xmlns:a16="http://schemas.microsoft.com/office/drawing/2014/main" id="{3BB8BC43-CA3E-49FA-8094-347BD0C127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81">
                <a:extLst>
                  <a:ext uri="{FF2B5EF4-FFF2-40B4-BE49-F238E27FC236}">
                    <a16:creationId xmlns:a16="http://schemas.microsoft.com/office/drawing/2014/main" id="{DD6DB9E9-530A-4D65-8536-A6DCA6AB8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82">
                <a:extLst>
                  <a:ext uri="{FF2B5EF4-FFF2-40B4-BE49-F238E27FC236}">
                    <a16:creationId xmlns:a16="http://schemas.microsoft.com/office/drawing/2014/main" id="{FD8DD0CE-2041-4864-A134-697F677CE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4" y="1817"/>
                <a:ext cx="43" cy="43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83">
                <a:extLst>
                  <a:ext uri="{FF2B5EF4-FFF2-40B4-BE49-F238E27FC236}">
                    <a16:creationId xmlns:a16="http://schemas.microsoft.com/office/drawing/2014/main" id="{19689E0F-F5A0-45FE-8DA9-195472060F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84">
                <a:extLst>
                  <a:ext uri="{FF2B5EF4-FFF2-40B4-BE49-F238E27FC236}">
                    <a16:creationId xmlns:a16="http://schemas.microsoft.com/office/drawing/2014/main" id="{9986ED98-2C87-413E-90C4-61080E0892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Rectangle 85">
                <a:extLst>
                  <a:ext uri="{FF2B5EF4-FFF2-40B4-BE49-F238E27FC236}">
                    <a16:creationId xmlns:a16="http://schemas.microsoft.com/office/drawing/2014/main" id="{F2DF7EB9-AF40-4A39-9F8C-78EA3791F9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834"/>
                <a:ext cx="43" cy="420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86">
                <a:extLst>
                  <a:ext uri="{FF2B5EF4-FFF2-40B4-BE49-F238E27FC236}">
                    <a16:creationId xmlns:a16="http://schemas.microsoft.com/office/drawing/2014/main" id="{36DE8A92-A2B3-40D3-8128-9E117743B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Rectangle 87">
                <a:extLst>
                  <a:ext uri="{FF2B5EF4-FFF2-40B4-BE49-F238E27FC236}">
                    <a16:creationId xmlns:a16="http://schemas.microsoft.com/office/drawing/2014/main" id="{E2B344D5-9609-4CCE-8A95-8F9E121DA8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88">
                <a:extLst>
                  <a:ext uri="{FF2B5EF4-FFF2-40B4-BE49-F238E27FC236}">
                    <a16:creationId xmlns:a16="http://schemas.microsoft.com/office/drawing/2014/main" id="{610D3497-5AD2-44C2-9968-8AC56288CA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9" y="1912"/>
                <a:ext cx="45" cy="342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Oval 89">
                <a:extLst>
                  <a:ext uri="{FF2B5EF4-FFF2-40B4-BE49-F238E27FC236}">
                    <a16:creationId xmlns:a16="http://schemas.microsoft.com/office/drawing/2014/main" id="{126C8068-F943-4FE4-9DD5-06059BC63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8" y="2288"/>
                <a:ext cx="923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Oval 90">
                <a:extLst>
                  <a:ext uri="{FF2B5EF4-FFF2-40B4-BE49-F238E27FC236}">
                    <a16:creationId xmlns:a16="http://schemas.microsoft.com/office/drawing/2014/main" id="{FB3400AA-C49E-414F-9068-7ED4106955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2326"/>
                <a:ext cx="64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Oval 91">
                <a:extLst>
                  <a:ext uri="{FF2B5EF4-FFF2-40B4-BE49-F238E27FC236}">
                    <a16:creationId xmlns:a16="http://schemas.microsoft.com/office/drawing/2014/main" id="{660C37C6-3F96-4BD9-A6A8-82D78552F3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1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Oval 92">
                <a:extLst>
                  <a:ext uri="{FF2B5EF4-FFF2-40B4-BE49-F238E27FC236}">
                    <a16:creationId xmlns:a16="http://schemas.microsoft.com/office/drawing/2014/main" id="{588337CB-1B21-4DD6-8D7A-CF3477124C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12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Oval 93">
                <a:extLst>
                  <a:ext uri="{FF2B5EF4-FFF2-40B4-BE49-F238E27FC236}">
                    <a16:creationId xmlns:a16="http://schemas.microsoft.com/office/drawing/2014/main" id="{3788900C-04AF-4852-838A-A4CF01210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4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Oval 94">
                <a:extLst>
                  <a:ext uri="{FF2B5EF4-FFF2-40B4-BE49-F238E27FC236}">
                    <a16:creationId xmlns:a16="http://schemas.microsoft.com/office/drawing/2014/main" id="{01AA2A94-578D-4FD5-A61C-DB12BE826F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Oval 95">
                <a:extLst>
                  <a:ext uri="{FF2B5EF4-FFF2-40B4-BE49-F238E27FC236}">
                    <a16:creationId xmlns:a16="http://schemas.microsoft.com/office/drawing/2014/main" id="{A3CE0B57-4807-4542-905F-1781AAA40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7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Oval 96">
                <a:extLst>
                  <a:ext uri="{FF2B5EF4-FFF2-40B4-BE49-F238E27FC236}">
                    <a16:creationId xmlns:a16="http://schemas.microsoft.com/office/drawing/2014/main" id="{345FCCF6-DCE5-4D76-BFE1-B334360D6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Oval 97">
                <a:extLst>
                  <a:ext uri="{FF2B5EF4-FFF2-40B4-BE49-F238E27FC236}">
                    <a16:creationId xmlns:a16="http://schemas.microsoft.com/office/drawing/2014/main" id="{6066E41A-301E-4A8C-951F-8259C864EA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0" y="2328"/>
                <a:ext cx="78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Oval 98">
                <a:extLst>
                  <a:ext uri="{FF2B5EF4-FFF2-40B4-BE49-F238E27FC236}">
                    <a16:creationId xmlns:a16="http://schemas.microsoft.com/office/drawing/2014/main" id="{A5C0CD60-E69A-4C96-9675-6B516B55C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62" y="2328"/>
                <a:ext cx="76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Oval 99">
                <a:extLst>
                  <a:ext uri="{FF2B5EF4-FFF2-40B4-BE49-F238E27FC236}">
                    <a16:creationId xmlns:a16="http://schemas.microsoft.com/office/drawing/2014/main" id="{797B943B-9715-4998-8290-838DBDAF48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2" y="2328"/>
                <a:ext cx="79" cy="2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Rectangle 100">
                <a:extLst>
                  <a:ext uri="{FF2B5EF4-FFF2-40B4-BE49-F238E27FC236}">
                    <a16:creationId xmlns:a16="http://schemas.microsoft.com/office/drawing/2014/main" id="{69228A03-3390-4358-8CA4-55DF43AD42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101">
                <a:extLst>
                  <a:ext uri="{FF2B5EF4-FFF2-40B4-BE49-F238E27FC236}">
                    <a16:creationId xmlns:a16="http://schemas.microsoft.com/office/drawing/2014/main" id="{86797D39-5F1A-4159-A6B8-601EB808CD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1934"/>
                <a:ext cx="45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102">
                <a:extLst>
                  <a:ext uri="{FF2B5EF4-FFF2-40B4-BE49-F238E27FC236}">
                    <a16:creationId xmlns:a16="http://schemas.microsoft.com/office/drawing/2014/main" id="{8223B075-A109-42E0-8D16-3578D16004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Rectangle 103">
                <a:extLst>
                  <a:ext uri="{FF2B5EF4-FFF2-40B4-BE49-F238E27FC236}">
                    <a16:creationId xmlns:a16="http://schemas.microsoft.com/office/drawing/2014/main" id="{E797C977-076A-4D5F-AA3D-5871D76EF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0" y="1787"/>
                <a:ext cx="46" cy="4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Rectangle 104">
                <a:extLst>
                  <a:ext uri="{FF2B5EF4-FFF2-40B4-BE49-F238E27FC236}">
                    <a16:creationId xmlns:a16="http://schemas.microsoft.com/office/drawing/2014/main" id="{320933CE-B3C1-4C03-AA5D-653A6FC929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Rectangle 105">
                <a:extLst>
                  <a:ext uri="{FF2B5EF4-FFF2-40B4-BE49-F238E27FC236}">
                    <a16:creationId xmlns:a16="http://schemas.microsoft.com/office/drawing/2014/main" id="{71B46B2E-7EB9-4C77-A91A-4BB7E6834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" y="2005"/>
                <a:ext cx="43" cy="2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Rectangle 106">
                <a:extLst>
                  <a:ext uri="{FF2B5EF4-FFF2-40B4-BE49-F238E27FC236}">
                    <a16:creationId xmlns:a16="http://schemas.microsoft.com/office/drawing/2014/main" id="{82D37F0B-AF09-4203-B39B-9E7A7173CF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9" name="Rectangle 107">
                <a:extLst>
                  <a:ext uri="{FF2B5EF4-FFF2-40B4-BE49-F238E27FC236}">
                    <a16:creationId xmlns:a16="http://schemas.microsoft.com/office/drawing/2014/main" id="{007BC54E-50D6-4E26-AEC6-00FA46993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896"/>
                <a:ext cx="43" cy="3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108">
                <a:extLst>
                  <a:ext uri="{FF2B5EF4-FFF2-40B4-BE49-F238E27FC236}">
                    <a16:creationId xmlns:a16="http://schemas.microsoft.com/office/drawing/2014/main" id="{2187FFB7-BB7F-4F8C-A696-6223A8240C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solidFill>
                <a:srgbClr val="EF85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Rectangle 109">
                <a:extLst>
                  <a:ext uri="{FF2B5EF4-FFF2-40B4-BE49-F238E27FC236}">
                    <a16:creationId xmlns:a16="http://schemas.microsoft.com/office/drawing/2014/main" id="{26C8A24F-508E-4635-B84B-E519B261C2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6" y="1967"/>
                <a:ext cx="43" cy="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Oval 110">
                <a:extLst>
                  <a:ext uri="{FF2B5EF4-FFF2-40B4-BE49-F238E27FC236}">
                    <a16:creationId xmlns:a16="http://schemas.microsoft.com/office/drawing/2014/main" id="{FD015706-CD88-481A-99BE-8052E0C3D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1167"/>
                <a:ext cx="83" cy="8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Oval 111">
                <a:extLst>
                  <a:ext uri="{FF2B5EF4-FFF2-40B4-BE49-F238E27FC236}">
                    <a16:creationId xmlns:a16="http://schemas.microsoft.com/office/drawing/2014/main" id="{0D04B65A-8EAB-4624-85C8-3D3EA80170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1" y="1174"/>
                <a:ext cx="631" cy="5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Freeform 112">
                <a:extLst>
                  <a:ext uri="{FF2B5EF4-FFF2-40B4-BE49-F238E27FC236}">
                    <a16:creationId xmlns:a16="http://schemas.microsoft.com/office/drawing/2014/main" id="{ADC40D54-91BE-40C0-9EB8-8D105A794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" y="1224"/>
                <a:ext cx="249" cy="7"/>
              </a:xfrm>
              <a:custGeom>
                <a:avLst/>
                <a:gdLst>
                  <a:gd name="T0" fmla="*/ 105 w 105"/>
                  <a:gd name="T1" fmla="*/ 1 h 3"/>
                  <a:gd name="T2" fmla="*/ 101 w 105"/>
                  <a:gd name="T3" fmla="*/ 2 h 3"/>
                  <a:gd name="T4" fmla="*/ 89 w 105"/>
                  <a:gd name="T5" fmla="*/ 2 h 3"/>
                  <a:gd name="T6" fmla="*/ 52 w 105"/>
                  <a:gd name="T7" fmla="*/ 3 h 3"/>
                  <a:gd name="T8" fmla="*/ 15 w 105"/>
                  <a:gd name="T9" fmla="*/ 2 h 3"/>
                  <a:gd name="T10" fmla="*/ 4 w 105"/>
                  <a:gd name="T11" fmla="*/ 2 h 3"/>
                  <a:gd name="T12" fmla="*/ 0 w 105"/>
                  <a:gd name="T13" fmla="*/ 1 h 3"/>
                  <a:gd name="T14" fmla="*/ 4 w 105"/>
                  <a:gd name="T15" fmla="*/ 1 h 3"/>
                  <a:gd name="T16" fmla="*/ 15 w 105"/>
                  <a:gd name="T17" fmla="*/ 1 h 3"/>
                  <a:gd name="T18" fmla="*/ 52 w 105"/>
                  <a:gd name="T19" fmla="*/ 0 h 3"/>
                  <a:gd name="T20" fmla="*/ 89 w 105"/>
                  <a:gd name="T21" fmla="*/ 1 h 3"/>
                  <a:gd name="T22" fmla="*/ 101 w 105"/>
                  <a:gd name="T23" fmla="*/ 1 h 3"/>
                  <a:gd name="T24" fmla="*/ 105 w 105"/>
                  <a:gd name="T2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3">
                    <a:moveTo>
                      <a:pt x="105" y="1"/>
                    </a:moveTo>
                    <a:cubicBezTo>
                      <a:pt x="105" y="2"/>
                      <a:pt x="103" y="2"/>
                      <a:pt x="101" y="2"/>
                    </a:cubicBezTo>
                    <a:cubicBezTo>
                      <a:pt x="98" y="2"/>
                      <a:pt x="94" y="2"/>
                      <a:pt x="89" y="2"/>
                    </a:cubicBezTo>
                    <a:cubicBezTo>
                      <a:pt x="80" y="2"/>
                      <a:pt x="67" y="3"/>
                      <a:pt x="52" y="3"/>
                    </a:cubicBezTo>
                    <a:cubicBezTo>
                      <a:pt x="38" y="3"/>
                      <a:pt x="25" y="2"/>
                      <a:pt x="15" y="2"/>
                    </a:cubicBezTo>
                    <a:cubicBezTo>
                      <a:pt x="10" y="2"/>
                      <a:pt x="7" y="2"/>
                      <a:pt x="4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7" y="1"/>
                      <a:pt x="10" y="1"/>
                      <a:pt x="15" y="1"/>
                    </a:cubicBezTo>
                    <a:cubicBezTo>
                      <a:pt x="25" y="1"/>
                      <a:pt x="38" y="0"/>
                      <a:pt x="52" y="0"/>
                    </a:cubicBezTo>
                    <a:cubicBezTo>
                      <a:pt x="67" y="0"/>
                      <a:pt x="80" y="1"/>
                      <a:pt x="89" y="1"/>
                    </a:cubicBezTo>
                    <a:cubicBezTo>
                      <a:pt x="94" y="1"/>
                      <a:pt x="98" y="1"/>
                      <a:pt x="101" y="1"/>
                    </a:cubicBezTo>
                    <a:cubicBezTo>
                      <a:pt x="103" y="1"/>
                      <a:pt x="105" y="1"/>
                      <a:pt x="105" y="1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3">
                <a:extLst>
                  <a:ext uri="{FF2B5EF4-FFF2-40B4-BE49-F238E27FC236}">
                    <a16:creationId xmlns:a16="http://schemas.microsoft.com/office/drawing/2014/main" id="{A9803406-6D17-4DFB-BEB7-AB204CD5E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" y="1048"/>
                <a:ext cx="1326" cy="151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Freeform 114">
                <a:extLst>
                  <a:ext uri="{FF2B5EF4-FFF2-40B4-BE49-F238E27FC236}">
                    <a16:creationId xmlns:a16="http://schemas.microsoft.com/office/drawing/2014/main" id="{C87D810D-5A7C-49E2-9C0F-417D5F2BF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" y="1046"/>
                <a:ext cx="1331" cy="1520"/>
              </a:xfrm>
              <a:custGeom>
                <a:avLst/>
                <a:gdLst>
                  <a:gd name="T0" fmla="*/ 560 w 561"/>
                  <a:gd name="T1" fmla="*/ 639 h 640"/>
                  <a:gd name="T2" fmla="*/ 560 w 561"/>
                  <a:gd name="T3" fmla="*/ 636 h 640"/>
                  <a:gd name="T4" fmla="*/ 560 w 561"/>
                  <a:gd name="T5" fmla="*/ 627 h 640"/>
                  <a:gd name="T6" fmla="*/ 560 w 561"/>
                  <a:gd name="T7" fmla="*/ 593 h 640"/>
                  <a:gd name="T8" fmla="*/ 560 w 561"/>
                  <a:gd name="T9" fmla="*/ 463 h 640"/>
                  <a:gd name="T10" fmla="*/ 560 w 561"/>
                  <a:gd name="T11" fmla="*/ 1 h 640"/>
                  <a:gd name="T12" fmla="*/ 560 w 561"/>
                  <a:gd name="T13" fmla="*/ 2 h 640"/>
                  <a:gd name="T14" fmla="*/ 1 w 561"/>
                  <a:gd name="T15" fmla="*/ 2 h 640"/>
                  <a:gd name="T16" fmla="*/ 1 w 561"/>
                  <a:gd name="T17" fmla="*/ 2 h 640"/>
                  <a:gd name="T18" fmla="*/ 2 w 561"/>
                  <a:gd name="T19" fmla="*/ 1 h 640"/>
                  <a:gd name="T20" fmla="*/ 2 w 561"/>
                  <a:gd name="T21" fmla="*/ 639 h 640"/>
                  <a:gd name="T22" fmla="*/ 1 w 561"/>
                  <a:gd name="T23" fmla="*/ 639 h 640"/>
                  <a:gd name="T24" fmla="*/ 407 w 561"/>
                  <a:gd name="T25" fmla="*/ 639 h 640"/>
                  <a:gd name="T26" fmla="*/ 520 w 561"/>
                  <a:gd name="T27" fmla="*/ 639 h 640"/>
                  <a:gd name="T28" fmla="*/ 550 w 561"/>
                  <a:gd name="T29" fmla="*/ 639 h 640"/>
                  <a:gd name="T30" fmla="*/ 560 w 561"/>
                  <a:gd name="T31" fmla="*/ 639 h 640"/>
                  <a:gd name="T32" fmla="*/ 550 w 561"/>
                  <a:gd name="T33" fmla="*/ 639 h 640"/>
                  <a:gd name="T34" fmla="*/ 521 w 561"/>
                  <a:gd name="T35" fmla="*/ 640 h 640"/>
                  <a:gd name="T36" fmla="*/ 407 w 561"/>
                  <a:gd name="T37" fmla="*/ 640 h 640"/>
                  <a:gd name="T38" fmla="*/ 1 w 561"/>
                  <a:gd name="T39" fmla="*/ 640 h 640"/>
                  <a:gd name="T40" fmla="*/ 0 w 561"/>
                  <a:gd name="T41" fmla="*/ 640 h 640"/>
                  <a:gd name="T42" fmla="*/ 0 w 561"/>
                  <a:gd name="T43" fmla="*/ 639 h 640"/>
                  <a:gd name="T44" fmla="*/ 0 w 561"/>
                  <a:gd name="T45" fmla="*/ 1 h 640"/>
                  <a:gd name="T46" fmla="*/ 0 w 561"/>
                  <a:gd name="T47" fmla="*/ 0 h 640"/>
                  <a:gd name="T48" fmla="*/ 1 w 561"/>
                  <a:gd name="T49" fmla="*/ 0 h 640"/>
                  <a:gd name="T50" fmla="*/ 1 w 561"/>
                  <a:gd name="T51" fmla="*/ 0 h 640"/>
                  <a:gd name="T52" fmla="*/ 560 w 561"/>
                  <a:gd name="T53" fmla="*/ 0 h 640"/>
                  <a:gd name="T54" fmla="*/ 561 w 561"/>
                  <a:gd name="T55" fmla="*/ 0 h 640"/>
                  <a:gd name="T56" fmla="*/ 561 w 561"/>
                  <a:gd name="T57" fmla="*/ 1 h 640"/>
                  <a:gd name="T58" fmla="*/ 561 w 561"/>
                  <a:gd name="T59" fmla="*/ 463 h 640"/>
                  <a:gd name="T60" fmla="*/ 561 w 561"/>
                  <a:gd name="T61" fmla="*/ 593 h 640"/>
                  <a:gd name="T62" fmla="*/ 561 w 561"/>
                  <a:gd name="T63" fmla="*/ 628 h 640"/>
                  <a:gd name="T64" fmla="*/ 561 w 561"/>
                  <a:gd name="T65" fmla="*/ 636 h 640"/>
                  <a:gd name="T66" fmla="*/ 560 w 561"/>
                  <a:gd name="T67" fmla="*/ 639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61" h="640">
                    <a:moveTo>
                      <a:pt x="560" y="639"/>
                    </a:moveTo>
                    <a:cubicBezTo>
                      <a:pt x="560" y="639"/>
                      <a:pt x="560" y="638"/>
                      <a:pt x="560" y="636"/>
                    </a:cubicBezTo>
                    <a:cubicBezTo>
                      <a:pt x="560" y="634"/>
                      <a:pt x="560" y="631"/>
                      <a:pt x="560" y="627"/>
                    </a:cubicBezTo>
                    <a:cubicBezTo>
                      <a:pt x="560" y="620"/>
                      <a:pt x="560" y="608"/>
                      <a:pt x="560" y="593"/>
                    </a:cubicBezTo>
                    <a:cubicBezTo>
                      <a:pt x="560" y="563"/>
                      <a:pt x="560" y="519"/>
                      <a:pt x="560" y="463"/>
                    </a:cubicBezTo>
                    <a:cubicBezTo>
                      <a:pt x="560" y="351"/>
                      <a:pt x="560" y="191"/>
                      <a:pt x="560" y="1"/>
                    </a:cubicBezTo>
                    <a:cubicBezTo>
                      <a:pt x="560" y="2"/>
                      <a:pt x="560" y="2"/>
                      <a:pt x="560" y="2"/>
                    </a:cubicBezTo>
                    <a:cubicBezTo>
                      <a:pt x="396" y="2"/>
                      <a:pt x="20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36"/>
                      <a:pt x="2" y="456"/>
                      <a:pt x="2" y="639"/>
                    </a:cubicBezTo>
                    <a:cubicBezTo>
                      <a:pt x="1" y="639"/>
                      <a:pt x="1" y="639"/>
                      <a:pt x="1" y="639"/>
                    </a:cubicBezTo>
                    <a:cubicBezTo>
                      <a:pt x="169" y="639"/>
                      <a:pt x="309" y="639"/>
                      <a:pt x="407" y="639"/>
                    </a:cubicBezTo>
                    <a:cubicBezTo>
                      <a:pt x="456" y="639"/>
                      <a:pt x="494" y="639"/>
                      <a:pt x="520" y="639"/>
                    </a:cubicBezTo>
                    <a:cubicBezTo>
                      <a:pt x="533" y="639"/>
                      <a:pt x="543" y="639"/>
                      <a:pt x="550" y="639"/>
                    </a:cubicBezTo>
                    <a:cubicBezTo>
                      <a:pt x="557" y="639"/>
                      <a:pt x="560" y="639"/>
                      <a:pt x="560" y="639"/>
                    </a:cubicBezTo>
                    <a:cubicBezTo>
                      <a:pt x="560" y="639"/>
                      <a:pt x="557" y="639"/>
                      <a:pt x="550" y="639"/>
                    </a:cubicBezTo>
                    <a:cubicBezTo>
                      <a:pt x="544" y="640"/>
                      <a:pt x="534" y="640"/>
                      <a:pt x="521" y="640"/>
                    </a:cubicBezTo>
                    <a:cubicBezTo>
                      <a:pt x="494" y="640"/>
                      <a:pt x="456" y="640"/>
                      <a:pt x="407" y="640"/>
                    </a:cubicBezTo>
                    <a:cubicBezTo>
                      <a:pt x="309" y="640"/>
                      <a:pt x="169" y="640"/>
                      <a:pt x="1" y="640"/>
                    </a:cubicBezTo>
                    <a:cubicBezTo>
                      <a:pt x="0" y="640"/>
                      <a:pt x="0" y="640"/>
                      <a:pt x="0" y="640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456"/>
                      <a:pt x="0" y="236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04" y="0"/>
                      <a:pt x="396" y="0"/>
                      <a:pt x="560" y="0"/>
                    </a:cubicBezTo>
                    <a:cubicBezTo>
                      <a:pt x="561" y="0"/>
                      <a:pt x="561" y="0"/>
                      <a:pt x="561" y="0"/>
                    </a:cubicBezTo>
                    <a:cubicBezTo>
                      <a:pt x="561" y="1"/>
                      <a:pt x="561" y="1"/>
                      <a:pt x="561" y="1"/>
                    </a:cubicBezTo>
                    <a:cubicBezTo>
                      <a:pt x="561" y="191"/>
                      <a:pt x="561" y="351"/>
                      <a:pt x="561" y="463"/>
                    </a:cubicBezTo>
                    <a:cubicBezTo>
                      <a:pt x="561" y="519"/>
                      <a:pt x="561" y="563"/>
                      <a:pt x="561" y="593"/>
                    </a:cubicBezTo>
                    <a:cubicBezTo>
                      <a:pt x="561" y="608"/>
                      <a:pt x="561" y="620"/>
                      <a:pt x="561" y="628"/>
                    </a:cubicBezTo>
                    <a:cubicBezTo>
                      <a:pt x="561" y="632"/>
                      <a:pt x="561" y="634"/>
                      <a:pt x="561" y="636"/>
                    </a:cubicBezTo>
                    <a:cubicBezTo>
                      <a:pt x="560" y="638"/>
                      <a:pt x="560" y="639"/>
                      <a:pt x="560" y="63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Freeform 115">
                <a:extLst>
                  <a:ext uri="{FF2B5EF4-FFF2-40B4-BE49-F238E27FC236}">
                    <a16:creationId xmlns:a16="http://schemas.microsoft.com/office/drawing/2014/main" id="{243BDF15-8BD2-4DDE-9265-325151A3E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" y="1782"/>
                <a:ext cx="1051" cy="235"/>
              </a:xfrm>
              <a:custGeom>
                <a:avLst/>
                <a:gdLst>
                  <a:gd name="T0" fmla="*/ 443 w 443"/>
                  <a:gd name="T1" fmla="*/ 17 h 99"/>
                  <a:gd name="T2" fmla="*/ 425 w 443"/>
                  <a:gd name="T3" fmla="*/ 10 h 99"/>
                  <a:gd name="T4" fmla="*/ 374 w 443"/>
                  <a:gd name="T5" fmla="*/ 6 h 99"/>
                  <a:gd name="T6" fmla="*/ 340 w 443"/>
                  <a:gd name="T7" fmla="*/ 17 h 99"/>
                  <a:gd name="T8" fmla="*/ 306 w 443"/>
                  <a:gd name="T9" fmla="*/ 41 h 99"/>
                  <a:gd name="T10" fmla="*/ 272 w 443"/>
                  <a:gd name="T11" fmla="*/ 72 h 99"/>
                  <a:gd name="T12" fmla="*/ 228 w 443"/>
                  <a:gd name="T13" fmla="*/ 96 h 99"/>
                  <a:gd name="T14" fmla="*/ 202 w 443"/>
                  <a:gd name="T15" fmla="*/ 97 h 99"/>
                  <a:gd name="T16" fmla="*/ 178 w 443"/>
                  <a:gd name="T17" fmla="*/ 90 h 99"/>
                  <a:gd name="T18" fmla="*/ 139 w 443"/>
                  <a:gd name="T19" fmla="*/ 66 h 99"/>
                  <a:gd name="T20" fmla="*/ 101 w 443"/>
                  <a:gd name="T21" fmla="*/ 50 h 99"/>
                  <a:gd name="T22" fmla="*/ 65 w 443"/>
                  <a:gd name="T23" fmla="*/ 47 h 99"/>
                  <a:gd name="T24" fmla="*/ 16 w 443"/>
                  <a:gd name="T25" fmla="*/ 63 h 99"/>
                  <a:gd name="T26" fmla="*/ 0 w 443"/>
                  <a:gd name="T27" fmla="*/ 74 h 99"/>
                  <a:gd name="T28" fmla="*/ 4 w 443"/>
                  <a:gd name="T29" fmla="*/ 70 h 99"/>
                  <a:gd name="T30" fmla="*/ 15 w 443"/>
                  <a:gd name="T31" fmla="*/ 62 h 99"/>
                  <a:gd name="T32" fmla="*/ 65 w 443"/>
                  <a:gd name="T33" fmla="*/ 44 h 99"/>
                  <a:gd name="T34" fmla="*/ 102 w 443"/>
                  <a:gd name="T35" fmla="*/ 46 h 99"/>
                  <a:gd name="T36" fmla="*/ 140 w 443"/>
                  <a:gd name="T37" fmla="*/ 63 h 99"/>
                  <a:gd name="T38" fmla="*/ 180 w 443"/>
                  <a:gd name="T39" fmla="*/ 87 h 99"/>
                  <a:gd name="T40" fmla="*/ 227 w 443"/>
                  <a:gd name="T41" fmla="*/ 92 h 99"/>
                  <a:gd name="T42" fmla="*/ 269 w 443"/>
                  <a:gd name="T43" fmla="*/ 69 h 99"/>
                  <a:gd name="T44" fmla="*/ 304 w 443"/>
                  <a:gd name="T45" fmla="*/ 39 h 99"/>
                  <a:gd name="T46" fmla="*/ 338 w 443"/>
                  <a:gd name="T47" fmla="*/ 14 h 99"/>
                  <a:gd name="T48" fmla="*/ 373 w 443"/>
                  <a:gd name="T49" fmla="*/ 3 h 99"/>
                  <a:gd name="T50" fmla="*/ 426 w 443"/>
                  <a:gd name="T51" fmla="*/ 9 h 99"/>
                  <a:gd name="T52" fmla="*/ 439 w 443"/>
                  <a:gd name="T53" fmla="*/ 14 h 99"/>
                  <a:gd name="T54" fmla="*/ 443 w 443"/>
                  <a:gd name="T55" fmla="*/ 1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3" h="99">
                    <a:moveTo>
                      <a:pt x="443" y="17"/>
                    </a:moveTo>
                    <a:cubicBezTo>
                      <a:pt x="443" y="17"/>
                      <a:pt x="437" y="14"/>
                      <a:pt x="425" y="10"/>
                    </a:cubicBezTo>
                    <a:cubicBezTo>
                      <a:pt x="414" y="6"/>
                      <a:pt x="396" y="3"/>
                      <a:pt x="374" y="6"/>
                    </a:cubicBezTo>
                    <a:cubicBezTo>
                      <a:pt x="363" y="8"/>
                      <a:pt x="351" y="11"/>
                      <a:pt x="340" y="17"/>
                    </a:cubicBezTo>
                    <a:cubicBezTo>
                      <a:pt x="328" y="23"/>
                      <a:pt x="317" y="31"/>
                      <a:pt x="306" y="41"/>
                    </a:cubicBezTo>
                    <a:cubicBezTo>
                      <a:pt x="295" y="51"/>
                      <a:pt x="284" y="62"/>
                      <a:pt x="272" y="72"/>
                    </a:cubicBezTo>
                    <a:cubicBezTo>
                      <a:pt x="259" y="82"/>
                      <a:pt x="245" y="91"/>
                      <a:pt x="228" y="96"/>
                    </a:cubicBezTo>
                    <a:cubicBezTo>
                      <a:pt x="219" y="98"/>
                      <a:pt x="211" y="99"/>
                      <a:pt x="202" y="97"/>
                    </a:cubicBezTo>
                    <a:cubicBezTo>
                      <a:pt x="194" y="96"/>
                      <a:pt x="186" y="93"/>
                      <a:pt x="178" y="90"/>
                    </a:cubicBezTo>
                    <a:cubicBezTo>
                      <a:pt x="164" y="83"/>
                      <a:pt x="151" y="74"/>
                      <a:pt x="139" y="66"/>
                    </a:cubicBezTo>
                    <a:cubicBezTo>
                      <a:pt x="126" y="59"/>
                      <a:pt x="114" y="52"/>
                      <a:pt x="101" y="50"/>
                    </a:cubicBezTo>
                    <a:cubicBezTo>
                      <a:pt x="89" y="46"/>
                      <a:pt x="76" y="46"/>
                      <a:pt x="65" y="47"/>
                    </a:cubicBezTo>
                    <a:cubicBezTo>
                      <a:pt x="43" y="49"/>
                      <a:pt x="27" y="57"/>
                      <a:pt x="16" y="63"/>
                    </a:cubicBezTo>
                    <a:cubicBezTo>
                      <a:pt x="6" y="69"/>
                      <a:pt x="1" y="74"/>
                      <a:pt x="0" y="74"/>
                    </a:cubicBezTo>
                    <a:cubicBezTo>
                      <a:pt x="0" y="74"/>
                      <a:pt x="2" y="72"/>
                      <a:pt x="4" y="70"/>
                    </a:cubicBezTo>
                    <a:cubicBezTo>
                      <a:pt x="6" y="68"/>
                      <a:pt x="10" y="65"/>
                      <a:pt x="15" y="62"/>
                    </a:cubicBezTo>
                    <a:cubicBezTo>
                      <a:pt x="26" y="55"/>
                      <a:pt x="43" y="46"/>
                      <a:pt x="65" y="44"/>
                    </a:cubicBezTo>
                    <a:cubicBezTo>
                      <a:pt x="76" y="43"/>
                      <a:pt x="89" y="43"/>
                      <a:pt x="102" y="46"/>
                    </a:cubicBezTo>
                    <a:cubicBezTo>
                      <a:pt x="115" y="49"/>
                      <a:pt x="128" y="56"/>
                      <a:pt x="140" y="63"/>
                    </a:cubicBezTo>
                    <a:cubicBezTo>
                      <a:pt x="153" y="71"/>
                      <a:pt x="166" y="80"/>
                      <a:pt x="180" y="87"/>
                    </a:cubicBezTo>
                    <a:cubicBezTo>
                      <a:pt x="194" y="93"/>
                      <a:pt x="211" y="96"/>
                      <a:pt x="227" y="92"/>
                    </a:cubicBezTo>
                    <a:cubicBezTo>
                      <a:pt x="243" y="88"/>
                      <a:pt x="257" y="79"/>
                      <a:pt x="269" y="69"/>
                    </a:cubicBezTo>
                    <a:cubicBezTo>
                      <a:pt x="282" y="59"/>
                      <a:pt x="293" y="48"/>
                      <a:pt x="304" y="39"/>
                    </a:cubicBezTo>
                    <a:cubicBezTo>
                      <a:pt x="315" y="29"/>
                      <a:pt x="326" y="20"/>
                      <a:pt x="338" y="14"/>
                    </a:cubicBezTo>
                    <a:cubicBezTo>
                      <a:pt x="350" y="8"/>
                      <a:pt x="362" y="5"/>
                      <a:pt x="373" y="3"/>
                    </a:cubicBezTo>
                    <a:cubicBezTo>
                      <a:pt x="396" y="0"/>
                      <a:pt x="414" y="4"/>
                      <a:pt x="426" y="9"/>
                    </a:cubicBezTo>
                    <a:cubicBezTo>
                      <a:pt x="432" y="11"/>
                      <a:pt x="436" y="13"/>
                      <a:pt x="439" y="14"/>
                    </a:cubicBezTo>
                    <a:cubicBezTo>
                      <a:pt x="442" y="16"/>
                      <a:pt x="443" y="17"/>
                      <a:pt x="443" y="17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16">
                <a:extLst>
                  <a:ext uri="{FF2B5EF4-FFF2-40B4-BE49-F238E27FC236}">
                    <a16:creationId xmlns:a16="http://schemas.microsoft.com/office/drawing/2014/main" id="{D3DA29DE-FBB1-4F5A-B60F-AF1A4F791F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9" y="2026"/>
                <a:ext cx="112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17">
                <a:extLst>
                  <a:ext uri="{FF2B5EF4-FFF2-40B4-BE49-F238E27FC236}">
                    <a16:creationId xmlns:a16="http://schemas.microsoft.com/office/drawing/2014/main" id="{3F4DC83B-0F78-4DC8-984C-42BCCFA98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9" y="2026"/>
                <a:ext cx="111" cy="3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Rectangle 118">
                <a:extLst>
                  <a:ext uri="{FF2B5EF4-FFF2-40B4-BE49-F238E27FC236}">
                    <a16:creationId xmlns:a16="http://schemas.microsoft.com/office/drawing/2014/main" id="{56C52841-4085-49C3-BB08-56F68908F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846"/>
                <a:ext cx="114" cy="48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Rectangle 119">
                <a:extLst>
                  <a:ext uri="{FF2B5EF4-FFF2-40B4-BE49-F238E27FC236}">
                    <a16:creationId xmlns:a16="http://schemas.microsoft.com/office/drawing/2014/main" id="{3397A466-FAED-43A6-BF16-3AF2FB637F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2" y="2235"/>
                <a:ext cx="114" cy="103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Rectangle 120">
                <a:extLst>
                  <a:ext uri="{FF2B5EF4-FFF2-40B4-BE49-F238E27FC236}">
                    <a16:creationId xmlns:a16="http://schemas.microsoft.com/office/drawing/2014/main" id="{380164D1-6BEB-460E-A714-BA5287FF26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" y="2164"/>
                <a:ext cx="114" cy="166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Rectangle 121">
                <a:extLst>
                  <a:ext uri="{FF2B5EF4-FFF2-40B4-BE49-F238E27FC236}">
                    <a16:creationId xmlns:a16="http://schemas.microsoft.com/office/drawing/2014/main" id="{8772C345-55EF-467E-A1A6-DCF5ADC89C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7" y="2126"/>
                <a:ext cx="114" cy="204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Oval 122">
                <a:extLst>
                  <a:ext uri="{FF2B5EF4-FFF2-40B4-BE49-F238E27FC236}">
                    <a16:creationId xmlns:a16="http://schemas.microsoft.com/office/drawing/2014/main" id="{84FC872B-5F58-46AE-B931-F0EC7B2EA0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Oval 123">
                <a:extLst>
                  <a:ext uri="{FF2B5EF4-FFF2-40B4-BE49-F238E27FC236}">
                    <a16:creationId xmlns:a16="http://schemas.microsoft.com/office/drawing/2014/main" id="{2800D2A0-D703-4AB3-A661-C4F30F9CC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Oval 124">
                <a:extLst>
                  <a:ext uri="{FF2B5EF4-FFF2-40B4-BE49-F238E27FC236}">
                    <a16:creationId xmlns:a16="http://schemas.microsoft.com/office/drawing/2014/main" id="{451FFF67-57A7-4B4B-AA7F-0CAF416F0F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5" y="2364"/>
                <a:ext cx="138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Oval 125">
                <a:extLst>
                  <a:ext uri="{FF2B5EF4-FFF2-40B4-BE49-F238E27FC236}">
                    <a16:creationId xmlns:a16="http://schemas.microsoft.com/office/drawing/2014/main" id="{A19CB3F2-947C-456F-B22C-5AB743EFC9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2364"/>
                <a:ext cx="137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Oval 126">
                <a:extLst>
                  <a:ext uri="{FF2B5EF4-FFF2-40B4-BE49-F238E27FC236}">
                    <a16:creationId xmlns:a16="http://schemas.microsoft.com/office/drawing/2014/main" id="{6CCE9008-1229-43A9-AD0A-FCEC4B5DF2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Oval 127">
                <a:extLst>
                  <a:ext uri="{FF2B5EF4-FFF2-40B4-BE49-F238E27FC236}">
                    <a16:creationId xmlns:a16="http://schemas.microsoft.com/office/drawing/2014/main" id="{0FFE045A-0AE0-43B5-B615-2E043F7299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4" y="2364"/>
                <a:ext cx="121" cy="7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Rectangle 128">
                <a:extLst>
                  <a:ext uri="{FF2B5EF4-FFF2-40B4-BE49-F238E27FC236}">
                    <a16:creationId xmlns:a16="http://schemas.microsoft.com/office/drawing/2014/main" id="{D53B6A28-6A7F-43F7-92F9-395013835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0" y="1269"/>
                <a:ext cx="923" cy="382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Oval 129">
                <a:extLst>
                  <a:ext uri="{FF2B5EF4-FFF2-40B4-BE49-F238E27FC236}">
                    <a16:creationId xmlns:a16="http://schemas.microsoft.com/office/drawing/2014/main" id="{75B3ED24-D9D3-4F66-8902-5E877AEF0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347"/>
                <a:ext cx="85" cy="86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130">
                <a:extLst>
                  <a:ext uri="{FF2B5EF4-FFF2-40B4-BE49-F238E27FC236}">
                    <a16:creationId xmlns:a16="http://schemas.microsoft.com/office/drawing/2014/main" id="{904AB6C6-70D5-498D-A766-AD4BAA254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59"/>
                <a:ext cx="299" cy="17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131">
                <a:extLst>
                  <a:ext uri="{FF2B5EF4-FFF2-40B4-BE49-F238E27FC236}">
                    <a16:creationId xmlns:a16="http://schemas.microsoft.com/office/drawing/2014/main" id="{7DE17A0B-D692-4938-A87E-9726142B9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397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Oval 132">
                <a:extLst>
                  <a:ext uri="{FF2B5EF4-FFF2-40B4-BE49-F238E27FC236}">
                    <a16:creationId xmlns:a16="http://schemas.microsoft.com/office/drawing/2014/main" id="{2DBC82F2-0AF4-40F3-9E31-FF09658B8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7" y="1478"/>
                <a:ext cx="85" cy="88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133">
                <a:extLst>
                  <a:ext uri="{FF2B5EF4-FFF2-40B4-BE49-F238E27FC236}">
                    <a16:creationId xmlns:a16="http://schemas.microsoft.com/office/drawing/2014/main" id="{248B1636-AA97-462A-918A-4D9385494F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492"/>
                <a:ext cx="154" cy="17"/>
              </a:xfrm>
              <a:prstGeom prst="rect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134">
                <a:extLst>
                  <a:ext uri="{FF2B5EF4-FFF2-40B4-BE49-F238E27FC236}">
                    <a16:creationId xmlns:a16="http://schemas.microsoft.com/office/drawing/2014/main" id="{48A9B9F4-55B7-424F-99AA-CDDC280565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1530"/>
                <a:ext cx="583" cy="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135">
                <a:extLst>
                  <a:ext uri="{FF2B5EF4-FFF2-40B4-BE49-F238E27FC236}">
                    <a16:creationId xmlns:a16="http://schemas.microsoft.com/office/drawing/2014/main" id="{6BA04C88-1749-4BCB-A217-63A4DFE8C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25" y="775"/>
                <a:ext cx="1459" cy="1665"/>
              </a:xfrm>
              <a:prstGeom prst="rect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Freeform 136">
                <a:extLst>
                  <a:ext uri="{FF2B5EF4-FFF2-40B4-BE49-F238E27FC236}">
                    <a16:creationId xmlns:a16="http://schemas.microsoft.com/office/drawing/2014/main" id="{E05EC4F8-B12C-4C4E-AC23-99CE0DD9E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2" y="772"/>
                <a:ext cx="1464" cy="1670"/>
              </a:xfrm>
              <a:custGeom>
                <a:avLst/>
                <a:gdLst>
                  <a:gd name="T0" fmla="*/ 616 w 617"/>
                  <a:gd name="T1" fmla="*/ 702 h 703"/>
                  <a:gd name="T2" fmla="*/ 616 w 617"/>
                  <a:gd name="T3" fmla="*/ 699 h 703"/>
                  <a:gd name="T4" fmla="*/ 615 w 617"/>
                  <a:gd name="T5" fmla="*/ 689 h 703"/>
                  <a:gd name="T6" fmla="*/ 615 w 617"/>
                  <a:gd name="T7" fmla="*/ 651 h 703"/>
                  <a:gd name="T8" fmla="*/ 615 w 617"/>
                  <a:gd name="T9" fmla="*/ 508 h 703"/>
                  <a:gd name="T10" fmla="*/ 615 w 617"/>
                  <a:gd name="T11" fmla="*/ 1 h 703"/>
                  <a:gd name="T12" fmla="*/ 616 w 617"/>
                  <a:gd name="T13" fmla="*/ 2 h 703"/>
                  <a:gd name="T14" fmla="*/ 1 w 617"/>
                  <a:gd name="T15" fmla="*/ 2 h 703"/>
                  <a:gd name="T16" fmla="*/ 1 w 617"/>
                  <a:gd name="T17" fmla="*/ 2 h 703"/>
                  <a:gd name="T18" fmla="*/ 2 w 617"/>
                  <a:gd name="T19" fmla="*/ 1 h 703"/>
                  <a:gd name="T20" fmla="*/ 2 w 617"/>
                  <a:gd name="T21" fmla="*/ 702 h 703"/>
                  <a:gd name="T22" fmla="*/ 1 w 617"/>
                  <a:gd name="T23" fmla="*/ 702 h 703"/>
                  <a:gd name="T24" fmla="*/ 447 w 617"/>
                  <a:gd name="T25" fmla="*/ 702 h 703"/>
                  <a:gd name="T26" fmla="*/ 571 w 617"/>
                  <a:gd name="T27" fmla="*/ 702 h 703"/>
                  <a:gd name="T28" fmla="*/ 604 w 617"/>
                  <a:gd name="T29" fmla="*/ 702 h 703"/>
                  <a:gd name="T30" fmla="*/ 616 w 617"/>
                  <a:gd name="T31" fmla="*/ 702 h 703"/>
                  <a:gd name="T32" fmla="*/ 604 w 617"/>
                  <a:gd name="T33" fmla="*/ 703 h 703"/>
                  <a:gd name="T34" fmla="*/ 572 w 617"/>
                  <a:gd name="T35" fmla="*/ 703 h 703"/>
                  <a:gd name="T36" fmla="*/ 447 w 617"/>
                  <a:gd name="T37" fmla="*/ 703 h 703"/>
                  <a:gd name="T38" fmla="*/ 1 w 617"/>
                  <a:gd name="T39" fmla="*/ 703 h 703"/>
                  <a:gd name="T40" fmla="*/ 0 w 617"/>
                  <a:gd name="T41" fmla="*/ 703 h 703"/>
                  <a:gd name="T42" fmla="*/ 0 w 617"/>
                  <a:gd name="T43" fmla="*/ 702 h 703"/>
                  <a:gd name="T44" fmla="*/ 0 w 617"/>
                  <a:gd name="T45" fmla="*/ 1 h 703"/>
                  <a:gd name="T46" fmla="*/ 0 w 617"/>
                  <a:gd name="T47" fmla="*/ 0 h 703"/>
                  <a:gd name="T48" fmla="*/ 1 w 617"/>
                  <a:gd name="T49" fmla="*/ 0 h 703"/>
                  <a:gd name="T50" fmla="*/ 1 w 617"/>
                  <a:gd name="T51" fmla="*/ 0 h 703"/>
                  <a:gd name="T52" fmla="*/ 616 w 617"/>
                  <a:gd name="T53" fmla="*/ 0 h 703"/>
                  <a:gd name="T54" fmla="*/ 617 w 617"/>
                  <a:gd name="T55" fmla="*/ 0 h 703"/>
                  <a:gd name="T56" fmla="*/ 617 w 617"/>
                  <a:gd name="T57" fmla="*/ 1 h 703"/>
                  <a:gd name="T58" fmla="*/ 616 w 617"/>
                  <a:gd name="T59" fmla="*/ 509 h 703"/>
                  <a:gd name="T60" fmla="*/ 616 w 617"/>
                  <a:gd name="T61" fmla="*/ 652 h 703"/>
                  <a:gd name="T62" fmla="*/ 616 w 617"/>
                  <a:gd name="T63" fmla="*/ 690 h 703"/>
                  <a:gd name="T64" fmla="*/ 616 w 617"/>
                  <a:gd name="T65" fmla="*/ 699 h 703"/>
                  <a:gd name="T66" fmla="*/ 616 w 617"/>
                  <a:gd name="T67" fmla="*/ 702 h 7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17" h="703">
                    <a:moveTo>
                      <a:pt x="616" y="702"/>
                    </a:moveTo>
                    <a:cubicBezTo>
                      <a:pt x="616" y="702"/>
                      <a:pt x="616" y="701"/>
                      <a:pt x="616" y="699"/>
                    </a:cubicBezTo>
                    <a:cubicBezTo>
                      <a:pt x="616" y="697"/>
                      <a:pt x="616" y="694"/>
                      <a:pt x="615" y="689"/>
                    </a:cubicBezTo>
                    <a:cubicBezTo>
                      <a:pt x="615" y="681"/>
                      <a:pt x="615" y="668"/>
                      <a:pt x="615" y="651"/>
                    </a:cubicBezTo>
                    <a:cubicBezTo>
                      <a:pt x="615" y="618"/>
                      <a:pt x="615" y="570"/>
                      <a:pt x="615" y="508"/>
                    </a:cubicBezTo>
                    <a:cubicBezTo>
                      <a:pt x="615" y="385"/>
                      <a:pt x="615" y="210"/>
                      <a:pt x="615" y="1"/>
                    </a:cubicBezTo>
                    <a:cubicBezTo>
                      <a:pt x="616" y="2"/>
                      <a:pt x="616" y="2"/>
                      <a:pt x="616" y="2"/>
                    </a:cubicBezTo>
                    <a:cubicBezTo>
                      <a:pt x="435" y="2"/>
                      <a:pt x="224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60"/>
                      <a:pt x="2" y="501"/>
                      <a:pt x="2" y="702"/>
                    </a:cubicBezTo>
                    <a:cubicBezTo>
                      <a:pt x="1" y="702"/>
                      <a:pt x="1" y="702"/>
                      <a:pt x="1" y="702"/>
                    </a:cubicBezTo>
                    <a:cubicBezTo>
                      <a:pt x="186" y="702"/>
                      <a:pt x="339" y="702"/>
                      <a:pt x="447" y="702"/>
                    </a:cubicBezTo>
                    <a:cubicBezTo>
                      <a:pt x="501" y="702"/>
                      <a:pt x="543" y="702"/>
                      <a:pt x="571" y="702"/>
                    </a:cubicBezTo>
                    <a:cubicBezTo>
                      <a:pt x="586" y="702"/>
                      <a:pt x="597" y="702"/>
                      <a:pt x="604" y="702"/>
                    </a:cubicBezTo>
                    <a:cubicBezTo>
                      <a:pt x="612" y="702"/>
                      <a:pt x="616" y="702"/>
                      <a:pt x="616" y="702"/>
                    </a:cubicBezTo>
                    <a:cubicBezTo>
                      <a:pt x="616" y="702"/>
                      <a:pt x="612" y="702"/>
                      <a:pt x="604" y="703"/>
                    </a:cubicBezTo>
                    <a:cubicBezTo>
                      <a:pt x="597" y="703"/>
                      <a:pt x="586" y="703"/>
                      <a:pt x="572" y="703"/>
                    </a:cubicBezTo>
                    <a:cubicBezTo>
                      <a:pt x="543" y="703"/>
                      <a:pt x="501" y="703"/>
                      <a:pt x="447" y="703"/>
                    </a:cubicBezTo>
                    <a:cubicBezTo>
                      <a:pt x="340" y="703"/>
                      <a:pt x="186" y="703"/>
                      <a:pt x="1" y="703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0" y="702"/>
                      <a:pt x="0" y="702"/>
                      <a:pt x="0" y="702"/>
                    </a:cubicBezTo>
                    <a:cubicBezTo>
                      <a:pt x="0" y="501"/>
                      <a:pt x="0" y="26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24" y="0"/>
                      <a:pt x="435" y="0"/>
                      <a:pt x="616" y="0"/>
                    </a:cubicBezTo>
                    <a:cubicBezTo>
                      <a:pt x="617" y="0"/>
                      <a:pt x="617" y="0"/>
                      <a:pt x="617" y="0"/>
                    </a:cubicBezTo>
                    <a:cubicBezTo>
                      <a:pt x="617" y="1"/>
                      <a:pt x="617" y="1"/>
                      <a:pt x="617" y="1"/>
                    </a:cubicBezTo>
                    <a:cubicBezTo>
                      <a:pt x="616" y="210"/>
                      <a:pt x="616" y="386"/>
                      <a:pt x="616" y="509"/>
                    </a:cubicBezTo>
                    <a:cubicBezTo>
                      <a:pt x="616" y="570"/>
                      <a:pt x="616" y="619"/>
                      <a:pt x="616" y="652"/>
                    </a:cubicBezTo>
                    <a:cubicBezTo>
                      <a:pt x="616" y="668"/>
                      <a:pt x="616" y="681"/>
                      <a:pt x="616" y="690"/>
                    </a:cubicBezTo>
                    <a:cubicBezTo>
                      <a:pt x="616" y="694"/>
                      <a:pt x="616" y="697"/>
                      <a:pt x="616" y="699"/>
                    </a:cubicBezTo>
                    <a:cubicBezTo>
                      <a:pt x="616" y="701"/>
                      <a:pt x="616" y="702"/>
                      <a:pt x="616" y="70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137">
                <a:extLst>
                  <a:ext uri="{FF2B5EF4-FFF2-40B4-BE49-F238E27FC236}">
                    <a16:creationId xmlns:a16="http://schemas.microsoft.com/office/drawing/2014/main" id="{A877E737-DE20-4A74-9865-089C6795F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908"/>
                <a:ext cx="1182" cy="947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138">
                <a:extLst>
                  <a:ext uri="{FF2B5EF4-FFF2-40B4-BE49-F238E27FC236}">
                    <a16:creationId xmlns:a16="http://schemas.microsoft.com/office/drawing/2014/main" id="{74EF8C5E-7148-4687-B3C9-33FF688D8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68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139">
                <a:extLst>
                  <a:ext uri="{FF2B5EF4-FFF2-40B4-BE49-F238E27FC236}">
                    <a16:creationId xmlns:a16="http://schemas.microsoft.com/office/drawing/2014/main" id="{D0A09BA1-1EB1-4710-B14A-682730449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1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140">
                <a:extLst>
                  <a:ext uri="{FF2B5EF4-FFF2-40B4-BE49-F238E27FC236}">
                    <a16:creationId xmlns:a16="http://schemas.microsoft.com/office/drawing/2014/main" id="{CC8E26B0-3C87-4DB1-BBB3-76CE59F52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85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141">
                <a:extLst>
                  <a:ext uri="{FF2B5EF4-FFF2-40B4-BE49-F238E27FC236}">
                    <a16:creationId xmlns:a16="http://schemas.microsoft.com/office/drawing/2014/main" id="{827DE158-541B-4FB6-A297-3399FB6812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6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142">
                <a:extLst>
                  <a:ext uri="{FF2B5EF4-FFF2-40B4-BE49-F238E27FC236}">
                    <a16:creationId xmlns:a16="http://schemas.microsoft.com/office/drawing/2014/main" id="{D4982D7E-6D28-4085-B394-B8AF434B7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9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143">
                <a:extLst>
                  <a:ext uri="{FF2B5EF4-FFF2-40B4-BE49-F238E27FC236}">
                    <a16:creationId xmlns:a16="http://schemas.microsoft.com/office/drawing/2014/main" id="{D167198D-8762-4A5A-A8FD-D0A84FFB6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2" y="1749"/>
                <a:ext cx="50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144">
                <a:extLst>
                  <a:ext uri="{FF2B5EF4-FFF2-40B4-BE49-F238E27FC236}">
                    <a16:creationId xmlns:a16="http://schemas.microsoft.com/office/drawing/2014/main" id="{2503462A-065C-4B27-B82A-507D55972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6" y="1749"/>
                <a:ext cx="49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Rectangle 145">
                <a:extLst>
                  <a:ext uri="{FF2B5EF4-FFF2-40B4-BE49-F238E27FC236}">
                    <a16:creationId xmlns:a16="http://schemas.microsoft.com/office/drawing/2014/main" id="{537A1402-19F6-4CC0-AA16-93B7B0FBE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540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Rectangle 146">
                <a:extLst>
                  <a:ext uri="{FF2B5EF4-FFF2-40B4-BE49-F238E27FC236}">
                    <a16:creationId xmlns:a16="http://schemas.microsoft.com/office/drawing/2014/main" id="{C261A8CE-3529-4714-AADA-5A9F96EE94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257"/>
                <a:ext cx="38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Rectangle 147">
                <a:extLst>
                  <a:ext uri="{FF2B5EF4-FFF2-40B4-BE49-F238E27FC236}">
                    <a16:creationId xmlns:a16="http://schemas.microsoft.com/office/drawing/2014/main" id="{CA97A6D4-04B4-44AF-BB10-3C568FBEBB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4" y="1117"/>
                <a:ext cx="38" cy="9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Rectangle 148">
                <a:extLst>
                  <a:ext uri="{FF2B5EF4-FFF2-40B4-BE49-F238E27FC236}">
                    <a16:creationId xmlns:a16="http://schemas.microsoft.com/office/drawing/2014/main" id="{37F60986-2730-4C5C-A4FD-1F67961F1C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27" y="1397"/>
                <a:ext cx="37" cy="12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Freeform 149">
                <a:extLst>
                  <a:ext uri="{FF2B5EF4-FFF2-40B4-BE49-F238E27FC236}">
                    <a16:creationId xmlns:a16="http://schemas.microsoft.com/office/drawing/2014/main" id="{A09A7CD6-BBD2-43BD-A81A-31C8BBF0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1" y="1029"/>
                <a:ext cx="942" cy="672"/>
              </a:xfrm>
              <a:custGeom>
                <a:avLst/>
                <a:gdLst>
                  <a:gd name="T0" fmla="*/ 397 w 397"/>
                  <a:gd name="T1" fmla="*/ 282 h 283"/>
                  <a:gd name="T2" fmla="*/ 395 w 397"/>
                  <a:gd name="T3" fmla="*/ 282 h 283"/>
                  <a:gd name="T4" fmla="*/ 390 w 397"/>
                  <a:gd name="T5" fmla="*/ 282 h 283"/>
                  <a:gd name="T6" fmla="*/ 370 w 397"/>
                  <a:gd name="T7" fmla="*/ 283 h 283"/>
                  <a:gd name="T8" fmla="*/ 298 w 397"/>
                  <a:gd name="T9" fmla="*/ 283 h 283"/>
                  <a:gd name="T10" fmla="*/ 58 w 397"/>
                  <a:gd name="T11" fmla="*/ 283 h 283"/>
                  <a:gd name="T12" fmla="*/ 1 w 397"/>
                  <a:gd name="T13" fmla="*/ 283 h 283"/>
                  <a:gd name="T14" fmla="*/ 0 w 397"/>
                  <a:gd name="T15" fmla="*/ 283 h 283"/>
                  <a:gd name="T16" fmla="*/ 0 w 397"/>
                  <a:gd name="T17" fmla="*/ 282 h 283"/>
                  <a:gd name="T18" fmla="*/ 0 w 397"/>
                  <a:gd name="T19" fmla="*/ 81 h 283"/>
                  <a:gd name="T20" fmla="*/ 0 w 397"/>
                  <a:gd name="T21" fmla="*/ 21 h 283"/>
                  <a:gd name="T22" fmla="*/ 1 w 397"/>
                  <a:gd name="T23" fmla="*/ 5 h 283"/>
                  <a:gd name="T24" fmla="*/ 1 w 397"/>
                  <a:gd name="T25" fmla="*/ 1 h 283"/>
                  <a:gd name="T26" fmla="*/ 1 w 397"/>
                  <a:gd name="T27" fmla="*/ 0 h 283"/>
                  <a:gd name="T28" fmla="*/ 1 w 397"/>
                  <a:gd name="T29" fmla="*/ 1 h 283"/>
                  <a:gd name="T30" fmla="*/ 1 w 397"/>
                  <a:gd name="T31" fmla="*/ 5 h 283"/>
                  <a:gd name="T32" fmla="*/ 1 w 397"/>
                  <a:gd name="T33" fmla="*/ 21 h 283"/>
                  <a:gd name="T34" fmla="*/ 2 w 397"/>
                  <a:gd name="T35" fmla="*/ 81 h 283"/>
                  <a:gd name="T36" fmla="*/ 2 w 397"/>
                  <a:gd name="T37" fmla="*/ 282 h 283"/>
                  <a:gd name="T38" fmla="*/ 1 w 397"/>
                  <a:gd name="T39" fmla="*/ 281 h 283"/>
                  <a:gd name="T40" fmla="*/ 58 w 397"/>
                  <a:gd name="T41" fmla="*/ 281 h 283"/>
                  <a:gd name="T42" fmla="*/ 298 w 397"/>
                  <a:gd name="T43" fmla="*/ 281 h 283"/>
                  <a:gd name="T44" fmla="*/ 370 w 397"/>
                  <a:gd name="T45" fmla="*/ 282 h 283"/>
                  <a:gd name="T46" fmla="*/ 390 w 397"/>
                  <a:gd name="T47" fmla="*/ 282 h 283"/>
                  <a:gd name="T48" fmla="*/ 395 w 397"/>
                  <a:gd name="T49" fmla="*/ 282 h 283"/>
                  <a:gd name="T50" fmla="*/ 397 w 397"/>
                  <a:gd name="T51" fmla="*/ 282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97" h="283">
                    <a:moveTo>
                      <a:pt x="397" y="282"/>
                    </a:moveTo>
                    <a:cubicBezTo>
                      <a:pt x="397" y="282"/>
                      <a:pt x="396" y="282"/>
                      <a:pt x="395" y="282"/>
                    </a:cubicBezTo>
                    <a:cubicBezTo>
                      <a:pt x="394" y="282"/>
                      <a:pt x="392" y="282"/>
                      <a:pt x="390" y="282"/>
                    </a:cubicBezTo>
                    <a:cubicBezTo>
                      <a:pt x="385" y="282"/>
                      <a:pt x="379" y="283"/>
                      <a:pt x="370" y="283"/>
                    </a:cubicBezTo>
                    <a:cubicBezTo>
                      <a:pt x="353" y="283"/>
                      <a:pt x="328" y="283"/>
                      <a:pt x="298" y="283"/>
                    </a:cubicBezTo>
                    <a:cubicBezTo>
                      <a:pt x="236" y="283"/>
                      <a:pt x="151" y="283"/>
                      <a:pt x="58" y="283"/>
                    </a:cubicBezTo>
                    <a:cubicBezTo>
                      <a:pt x="38" y="283"/>
                      <a:pt x="19" y="283"/>
                      <a:pt x="1" y="28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02"/>
                      <a:pt x="0" y="131"/>
                      <a:pt x="0" y="81"/>
                    </a:cubicBezTo>
                    <a:cubicBezTo>
                      <a:pt x="0" y="56"/>
                      <a:pt x="0" y="35"/>
                      <a:pt x="0" y="21"/>
                    </a:cubicBezTo>
                    <a:cubicBezTo>
                      <a:pt x="1" y="14"/>
                      <a:pt x="1" y="9"/>
                      <a:pt x="1" y="5"/>
                    </a:cubicBezTo>
                    <a:cubicBezTo>
                      <a:pt x="1" y="4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2"/>
                      <a:pt x="1" y="4"/>
                      <a:pt x="1" y="5"/>
                    </a:cubicBezTo>
                    <a:cubicBezTo>
                      <a:pt x="1" y="9"/>
                      <a:pt x="1" y="14"/>
                      <a:pt x="1" y="21"/>
                    </a:cubicBezTo>
                    <a:cubicBezTo>
                      <a:pt x="1" y="35"/>
                      <a:pt x="1" y="56"/>
                      <a:pt x="2" y="81"/>
                    </a:cubicBezTo>
                    <a:cubicBezTo>
                      <a:pt x="2" y="131"/>
                      <a:pt x="2" y="202"/>
                      <a:pt x="2" y="282"/>
                    </a:cubicBezTo>
                    <a:cubicBezTo>
                      <a:pt x="1" y="281"/>
                      <a:pt x="1" y="281"/>
                      <a:pt x="1" y="281"/>
                    </a:cubicBezTo>
                    <a:cubicBezTo>
                      <a:pt x="19" y="281"/>
                      <a:pt x="38" y="281"/>
                      <a:pt x="58" y="281"/>
                    </a:cubicBezTo>
                    <a:cubicBezTo>
                      <a:pt x="151" y="281"/>
                      <a:pt x="236" y="281"/>
                      <a:pt x="298" y="281"/>
                    </a:cubicBezTo>
                    <a:cubicBezTo>
                      <a:pt x="328" y="282"/>
                      <a:pt x="353" y="282"/>
                      <a:pt x="370" y="282"/>
                    </a:cubicBezTo>
                    <a:cubicBezTo>
                      <a:pt x="379" y="282"/>
                      <a:pt x="385" y="282"/>
                      <a:pt x="390" y="282"/>
                    </a:cubicBezTo>
                    <a:cubicBezTo>
                      <a:pt x="392" y="282"/>
                      <a:pt x="394" y="282"/>
                      <a:pt x="395" y="282"/>
                    </a:cubicBezTo>
                    <a:cubicBezTo>
                      <a:pt x="396" y="282"/>
                      <a:pt x="397" y="282"/>
                      <a:pt x="397" y="28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Oval 150">
                <a:extLst>
                  <a:ext uri="{FF2B5EF4-FFF2-40B4-BE49-F238E27FC236}">
                    <a16:creationId xmlns:a16="http://schemas.microsoft.com/office/drawing/2014/main" id="{0060A0C4-EB5C-4EE3-9271-E55DF5797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40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Oval 151">
                <a:extLst>
                  <a:ext uri="{FF2B5EF4-FFF2-40B4-BE49-F238E27FC236}">
                    <a16:creationId xmlns:a16="http://schemas.microsoft.com/office/drawing/2014/main" id="{CBCD2232-4A4A-4E87-9FD1-9548C01F93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262"/>
                <a:ext cx="914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Oval 152">
                <a:extLst>
                  <a:ext uri="{FF2B5EF4-FFF2-40B4-BE49-F238E27FC236}">
                    <a16:creationId xmlns:a16="http://schemas.microsoft.com/office/drawing/2014/main" id="{48F7B2E1-7C51-4E05-9EF6-9FDAA870BD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119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Oval 153">
                <a:extLst>
                  <a:ext uri="{FF2B5EF4-FFF2-40B4-BE49-F238E27FC236}">
                    <a16:creationId xmlns:a16="http://schemas.microsoft.com/office/drawing/2014/main" id="{57DBF800-0E02-4C65-AB85-6A18C4343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1" y="1542"/>
                <a:ext cx="914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154">
                <a:extLst>
                  <a:ext uri="{FF2B5EF4-FFF2-40B4-BE49-F238E27FC236}">
                    <a16:creationId xmlns:a16="http://schemas.microsoft.com/office/drawing/2014/main" id="{DDF528C7-67E8-4825-9904-9120F5112A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38"/>
                <a:ext cx="892" cy="630"/>
              </a:xfrm>
              <a:custGeom>
                <a:avLst/>
                <a:gdLst>
                  <a:gd name="T0" fmla="*/ 0 w 376"/>
                  <a:gd name="T1" fmla="*/ 265 h 265"/>
                  <a:gd name="T2" fmla="*/ 0 w 376"/>
                  <a:gd name="T3" fmla="*/ 213 h 265"/>
                  <a:gd name="T4" fmla="*/ 32 w 376"/>
                  <a:gd name="T5" fmla="*/ 162 h 265"/>
                  <a:gd name="T6" fmla="*/ 55 w 376"/>
                  <a:gd name="T7" fmla="*/ 179 h 265"/>
                  <a:gd name="T8" fmla="*/ 100 w 376"/>
                  <a:gd name="T9" fmla="*/ 108 h 265"/>
                  <a:gd name="T10" fmla="*/ 127 w 376"/>
                  <a:gd name="T11" fmla="*/ 127 h 265"/>
                  <a:gd name="T12" fmla="*/ 164 w 376"/>
                  <a:gd name="T13" fmla="*/ 62 h 265"/>
                  <a:gd name="T14" fmla="*/ 195 w 376"/>
                  <a:gd name="T15" fmla="*/ 87 h 265"/>
                  <a:gd name="T16" fmla="*/ 240 w 376"/>
                  <a:gd name="T17" fmla="*/ 0 h 265"/>
                  <a:gd name="T18" fmla="*/ 289 w 376"/>
                  <a:gd name="T19" fmla="*/ 97 h 265"/>
                  <a:gd name="T20" fmla="*/ 329 w 376"/>
                  <a:gd name="T21" fmla="*/ 48 h 265"/>
                  <a:gd name="T22" fmla="*/ 376 w 376"/>
                  <a:gd name="T23" fmla="*/ 35 h 265"/>
                  <a:gd name="T24" fmla="*/ 376 w 376"/>
                  <a:gd name="T25" fmla="*/ 265 h 265"/>
                  <a:gd name="T26" fmla="*/ 0 w 376"/>
                  <a:gd name="T27" fmla="*/ 265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6" h="265">
                    <a:moveTo>
                      <a:pt x="0" y="265"/>
                    </a:moveTo>
                    <a:cubicBezTo>
                      <a:pt x="0" y="256"/>
                      <a:pt x="0" y="213"/>
                      <a:pt x="0" y="213"/>
                    </a:cubicBezTo>
                    <a:cubicBezTo>
                      <a:pt x="32" y="162"/>
                      <a:pt x="32" y="162"/>
                      <a:pt x="32" y="162"/>
                    </a:cubicBezTo>
                    <a:cubicBezTo>
                      <a:pt x="55" y="179"/>
                      <a:pt x="55" y="179"/>
                      <a:pt x="55" y="179"/>
                    </a:cubicBez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27" y="127"/>
                      <a:pt x="127" y="127"/>
                      <a:pt x="127" y="127"/>
                    </a:cubicBezTo>
                    <a:cubicBezTo>
                      <a:pt x="164" y="62"/>
                      <a:pt x="164" y="62"/>
                      <a:pt x="164" y="62"/>
                    </a:cubicBezTo>
                    <a:cubicBezTo>
                      <a:pt x="195" y="87"/>
                      <a:pt x="195" y="87"/>
                      <a:pt x="195" y="87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89" y="97"/>
                      <a:pt x="289" y="97"/>
                      <a:pt x="289" y="97"/>
                    </a:cubicBezTo>
                    <a:cubicBezTo>
                      <a:pt x="329" y="48"/>
                      <a:pt x="329" y="48"/>
                      <a:pt x="329" y="48"/>
                    </a:cubicBezTo>
                    <a:cubicBezTo>
                      <a:pt x="376" y="35"/>
                      <a:pt x="376" y="35"/>
                      <a:pt x="376" y="35"/>
                    </a:cubicBezTo>
                    <a:cubicBezTo>
                      <a:pt x="376" y="265"/>
                      <a:pt x="376" y="265"/>
                      <a:pt x="376" y="265"/>
                    </a:cubicBezTo>
                    <a:lnTo>
                      <a:pt x="0" y="265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Freeform 155">
                <a:extLst>
                  <a:ext uri="{FF2B5EF4-FFF2-40B4-BE49-F238E27FC236}">
                    <a16:creationId xmlns:a16="http://schemas.microsoft.com/office/drawing/2014/main" id="{F65E28C4-12EC-4766-89BB-6E6ECB7A2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1076"/>
                <a:ext cx="904" cy="509"/>
              </a:xfrm>
              <a:custGeom>
                <a:avLst/>
                <a:gdLst>
                  <a:gd name="T0" fmla="*/ 381 w 381"/>
                  <a:gd name="T1" fmla="*/ 0 h 214"/>
                  <a:gd name="T2" fmla="*/ 380 w 381"/>
                  <a:gd name="T3" fmla="*/ 1 h 214"/>
                  <a:gd name="T4" fmla="*/ 377 w 381"/>
                  <a:gd name="T5" fmla="*/ 1 h 214"/>
                  <a:gd name="T6" fmla="*/ 368 w 381"/>
                  <a:gd name="T7" fmla="*/ 1 h 214"/>
                  <a:gd name="T8" fmla="*/ 332 w 381"/>
                  <a:gd name="T9" fmla="*/ 1 h 214"/>
                  <a:gd name="T10" fmla="*/ 332 w 381"/>
                  <a:gd name="T11" fmla="*/ 1 h 214"/>
                  <a:gd name="T12" fmla="*/ 294 w 381"/>
                  <a:gd name="T13" fmla="*/ 51 h 214"/>
                  <a:gd name="T14" fmla="*/ 294 w 381"/>
                  <a:gd name="T15" fmla="*/ 51 h 214"/>
                  <a:gd name="T16" fmla="*/ 293 w 381"/>
                  <a:gd name="T17" fmla="*/ 51 h 214"/>
                  <a:gd name="T18" fmla="*/ 197 w 381"/>
                  <a:gd name="T19" fmla="*/ 52 h 214"/>
                  <a:gd name="T20" fmla="*/ 198 w 381"/>
                  <a:gd name="T21" fmla="*/ 51 h 214"/>
                  <a:gd name="T22" fmla="*/ 158 w 381"/>
                  <a:gd name="T23" fmla="*/ 119 h 214"/>
                  <a:gd name="T24" fmla="*/ 118 w 381"/>
                  <a:gd name="T25" fmla="*/ 185 h 214"/>
                  <a:gd name="T26" fmla="*/ 117 w 381"/>
                  <a:gd name="T27" fmla="*/ 186 h 214"/>
                  <a:gd name="T28" fmla="*/ 116 w 381"/>
                  <a:gd name="T29" fmla="*/ 185 h 214"/>
                  <a:gd name="T30" fmla="*/ 64 w 381"/>
                  <a:gd name="T31" fmla="*/ 113 h 214"/>
                  <a:gd name="T32" fmla="*/ 65 w 381"/>
                  <a:gd name="T33" fmla="*/ 113 h 214"/>
                  <a:gd name="T34" fmla="*/ 18 w 381"/>
                  <a:gd name="T35" fmla="*/ 187 h 214"/>
                  <a:gd name="T36" fmla="*/ 4 w 381"/>
                  <a:gd name="T37" fmla="*/ 207 h 214"/>
                  <a:gd name="T38" fmla="*/ 1 w 381"/>
                  <a:gd name="T39" fmla="*/ 213 h 214"/>
                  <a:gd name="T40" fmla="*/ 0 w 381"/>
                  <a:gd name="T41" fmla="*/ 214 h 214"/>
                  <a:gd name="T42" fmla="*/ 1 w 381"/>
                  <a:gd name="T43" fmla="*/ 213 h 214"/>
                  <a:gd name="T44" fmla="*/ 4 w 381"/>
                  <a:gd name="T45" fmla="*/ 207 h 214"/>
                  <a:gd name="T46" fmla="*/ 17 w 381"/>
                  <a:gd name="T47" fmla="*/ 186 h 214"/>
                  <a:gd name="T48" fmla="*/ 64 w 381"/>
                  <a:gd name="T49" fmla="*/ 112 h 214"/>
                  <a:gd name="T50" fmla="*/ 65 w 381"/>
                  <a:gd name="T51" fmla="*/ 111 h 214"/>
                  <a:gd name="T52" fmla="*/ 65 w 381"/>
                  <a:gd name="T53" fmla="*/ 112 h 214"/>
                  <a:gd name="T54" fmla="*/ 118 w 381"/>
                  <a:gd name="T55" fmla="*/ 183 h 214"/>
                  <a:gd name="T56" fmla="*/ 116 w 381"/>
                  <a:gd name="T57" fmla="*/ 183 h 214"/>
                  <a:gd name="T58" fmla="*/ 156 w 381"/>
                  <a:gd name="T59" fmla="*/ 117 h 214"/>
                  <a:gd name="T60" fmla="*/ 196 w 381"/>
                  <a:gd name="T61" fmla="*/ 50 h 214"/>
                  <a:gd name="T62" fmla="*/ 197 w 381"/>
                  <a:gd name="T63" fmla="*/ 50 h 214"/>
                  <a:gd name="T64" fmla="*/ 197 w 381"/>
                  <a:gd name="T65" fmla="*/ 50 h 214"/>
                  <a:gd name="T66" fmla="*/ 293 w 381"/>
                  <a:gd name="T67" fmla="*/ 50 h 214"/>
                  <a:gd name="T68" fmla="*/ 293 w 381"/>
                  <a:gd name="T69" fmla="*/ 50 h 214"/>
                  <a:gd name="T70" fmla="*/ 331 w 381"/>
                  <a:gd name="T71" fmla="*/ 0 h 214"/>
                  <a:gd name="T72" fmla="*/ 332 w 381"/>
                  <a:gd name="T73" fmla="*/ 0 h 214"/>
                  <a:gd name="T74" fmla="*/ 332 w 381"/>
                  <a:gd name="T75" fmla="*/ 0 h 214"/>
                  <a:gd name="T76" fmla="*/ 368 w 381"/>
                  <a:gd name="T77" fmla="*/ 0 h 214"/>
                  <a:gd name="T78" fmla="*/ 377 w 381"/>
                  <a:gd name="T79" fmla="*/ 0 h 214"/>
                  <a:gd name="T80" fmla="*/ 380 w 381"/>
                  <a:gd name="T81" fmla="*/ 0 h 214"/>
                  <a:gd name="T82" fmla="*/ 381 w 381"/>
                  <a:gd name="T8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1" h="214">
                    <a:moveTo>
                      <a:pt x="381" y="0"/>
                    </a:moveTo>
                    <a:cubicBezTo>
                      <a:pt x="381" y="1"/>
                      <a:pt x="380" y="1"/>
                      <a:pt x="380" y="1"/>
                    </a:cubicBezTo>
                    <a:cubicBezTo>
                      <a:pt x="379" y="1"/>
                      <a:pt x="378" y="1"/>
                      <a:pt x="377" y="1"/>
                    </a:cubicBezTo>
                    <a:cubicBezTo>
                      <a:pt x="375" y="1"/>
                      <a:pt x="372" y="1"/>
                      <a:pt x="368" y="1"/>
                    </a:cubicBezTo>
                    <a:cubicBezTo>
                      <a:pt x="359" y="1"/>
                      <a:pt x="347" y="1"/>
                      <a:pt x="332" y="1"/>
                    </a:cubicBezTo>
                    <a:cubicBezTo>
                      <a:pt x="332" y="1"/>
                      <a:pt x="332" y="1"/>
                      <a:pt x="332" y="1"/>
                    </a:cubicBezTo>
                    <a:cubicBezTo>
                      <a:pt x="322" y="15"/>
                      <a:pt x="309" y="32"/>
                      <a:pt x="294" y="51"/>
                    </a:cubicBezTo>
                    <a:cubicBezTo>
                      <a:pt x="294" y="51"/>
                      <a:pt x="294" y="51"/>
                      <a:pt x="294" y="51"/>
                    </a:cubicBezTo>
                    <a:cubicBezTo>
                      <a:pt x="293" y="51"/>
                      <a:pt x="293" y="51"/>
                      <a:pt x="293" y="51"/>
                    </a:cubicBezTo>
                    <a:cubicBezTo>
                      <a:pt x="265" y="51"/>
                      <a:pt x="233" y="52"/>
                      <a:pt x="197" y="52"/>
                    </a:cubicBezTo>
                    <a:cubicBezTo>
                      <a:pt x="198" y="51"/>
                      <a:pt x="198" y="51"/>
                      <a:pt x="198" y="51"/>
                    </a:cubicBezTo>
                    <a:cubicBezTo>
                      <a:pt x="185" y="72"/>
                      <a:pt x="172" y="95"/>
                      <a:pt x="158" y="119"/>
                    </a:cubicBezTo>
                    <a:cubicBezTo>
                      <a:pt x="144" y="141"/>
                      <a:pt x="130" y="164"/>
                      <a:pt x="118" y="185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97" y="158"/>
                      <a:pt x="80" y="134"/>
                      <a:pt x="64" y="113"/>
                    </a:cubicBezTo>
                    <a:cubicBezTo>
                      <a:pt x="65" y="113"/>
                      <a:pt x="65" y="113"/>
                      <a:pt x="65" y="113"/>
                    </a:cubicBezTo>
                    <a:cubicBezTo>
                      <a:pt x="46" y="144"/>
                      <a:pt x="29" y="169"/>
                      <a:pt x="18" y="187"/>
                    </a:cubicBezTo>
                    <a:cubicBezTo>
                      <a:pt x="12" y="196"/>
                      <a:pt x="8" y="203"/>
                      <a:pt x="4" y="207"/>
                    </a:cubicBezTo>
                    <a:cubicBezTo>
                      <a:pt x="3" y="210"/>
                      <a:pt x="2" y="211"/>
                      <a:pt x="1" y="213"/>
                    </a:cubicBezTo>
                    <a:cubicBezTo>
                      <a:pt x="0" y="214"/>
                      <a:pt x="0" y="214"/>
                      <a:pt x="0" y="214"/>
                    </a:cubicBezTo>
                    <a:cubicBezTo>
                      <a:pt x="0" y="214"/>
                      <a:pt x="0" y="214"/>
                      <a:pt x="1" y="213"/>
                    </a:cubicBezTo>
                    <a:cubicBezTo>
                      <a:pt x="1" y="211"/>
                      <a:pt x="3" y="209"/>
                      <a:pt x="4" y="207"/>
                    </a:cubicBezTo>
                    <a:cubicBezTo>
                      <a:pt x="7" y="202"/>
                      <a:pt x="11" y="195"/>
                      <a:pt x="17" y="186"/>
                    </a:cubicBezTo>
                    <a:cubicBezTo>
                      <a:pt x="28" y="168"/>
                      <a:pt x="44" y="143"/>
                      <a:pt x="64" y="112"/>
                    </a:cubicBezTo>
                    <a:cubicBezTo>
                      <a:pt x="65" y="111"/>
                      <a:pt x="65" y="111"/>
                      <a:pt x="65" y="111"/>
                    </a:cubicBezTo>
                    <a:cubicBezTo>
                      <a:pt x="65" y="112"/>
                      <a:pt x="65" y="112"/>
                      <a:pt x="65" y="112"/>
                    </a:cubicBezTo>
                    <a:cubicBezTo>
                      <a:pt x="81" y="133"/>
                      <a:pt x="99" y="157"/>
                      <a:pt x="118" y="183"/>
                    </a:cubicBezTo>
                    <a:cubicBezTo>
                      <a:pt x="116" y="183"/>
                      <a:pt x="116" y="183"/>
                      <a:pt x="116" y="183"/>
                    </a:cubicBezTo>
                    <a:cubicBezTo>
                      <a:pt x="129" y="163"/>
                      <a:pt x="142" y="140"/>
                      <a:pt x="156" y="117"/>
                    </a:cubicBezTo>
                    <a:cubicBezTo>
                      <a:pt x="170" y="94"/>
                      <a:pt x="184" y="71"/>
                      <a:pt x="196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233" y="50"/>
                      <a:pt x="265" y="50"/>
                      <a:pt x="293" y="50"/>
                    </a:cubicBezTo>
                    <a:cubicBezTo>
                      <a:pt x="293" y="50"/>
                      <a:pt x="293" y="50"/>
                      <a:pt x="293" y="50"/>
                    </a:cubicBezTo>
                    <a:cubicBezTo>
                      <a:pt x="308" y="31"/>
                      <a:pt x="321" y="14"/>
                      <a:pt x="331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32" y="0"/>
                      <a:pt x="332" y="0"/>
                      <a:pt x="332" y="0"/>
                    </a:cubicBezTo>
                    <a:cubicBezTo>
                      <a:pt x="347" y="0"/>
                      <a:pt x="359" y="0"/>
                      <a:pt x="368" y="0"/>
                    </a:cubicBezTo>
                    <a:cubicBezTo>
                      <a:pt x="372" y="0"/>
                      <a:pt x="375" y="0"/>
                      <a:pt x="377" y="0"/>
                    </a:cubicBezTo>
                    <a:cubicBezTo>
                      <a:pt x="378" y="0"/>
                      <a:pt x="379" y="0"/>
                      <a:pt x="380" y="0"/>
                    </a:cubicBezTo>
                    <a:cubicBezTo>
                      <a:pt x="380" y="0"/>
                      <a:pt x="381" y="0"/>
                      <a:pt x="381" y="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Oval 156">
                <a:extLst>
                  <a:ext uri="{FF2B5EF4-FFF2-40B4-BE49-F238E27FC236}">
                    <a16:creationId xmlns:a16="http://schemas.microsoft.com/office/drawing/2014/main" id="{0717D895-6B6C-4837-9CCF-831ECCA431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4" y="1376"/>
                <a:ext cx="17" cy="16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Oval 157">
                <a:extLst>
                  <a:ext uri="{FF2B5EF4-FFF2-40B4-BE49-F238E27FC236}">
                    <a16:creationId xmlns:a16="http://schemas.microsoft.com/office/drawing/2014/main" id="{39F1EE4E-C8E6-461F-BDB9-B546182160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8" y="1226"/>
                <a:ext cx="16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Oval 158">
                <a:extLst>
                  <a:ext uri="{FF2B5EF4-FFF2-40B4-BE49-F238E27FC236}">
                    <a16:creationId xmlns:a16="http://schemas.microsoft.com/office/drawing/2014/main" id="{DC52F5A8-E7B2-48BF-84C0-E775EF6B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" y="1188"/>
                <a:ext cx="19" cy="17"/>
              </a:xfrm>
              <a:prstGeom prst="ellipse">
                <a:avLst/>
              </a:pr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Oval 159">
                <a:extLst>
                  <a:ext uri="{FF2B5EF4-FFF2-40B4-BE49-F238E27FC236}">
                    <a16:creationId xmlns:a16="http://schemas.microsoft.com/office/drawing/2014/main" id="{31954C2E-70A5-4E24-A200-2A5E7CB4B0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1996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Oval 160">
                <a:extLst>
                  <a:ext uri="{FF2B5EF4-FFF2-40B4-BE49-F238E27FC236}">
                    <a16:creationId xmlns:a16="http://schemas.microsoft.com/office/drawing/2014/main" id="{5A9AEFDD-6B04-4666-B29F-CB01E37B78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055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Oval 161">
                <a:extLst>
                  <a:ext uri="{FF2B5EF4-FFF2-40B4-BE49-F238E27FC236}">
                    <a16:creationId xmlns:a16="http://schemas.microsoft.com/office/drawing/2014/main" id="{705D3434-AD88-4F78-9F12-783950FE1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17"/>
                <a:ext cx="1116" cy="4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Oval 162">
                <a:extLst>
                  <a:ext uri="{FF2B5EF4-FFF2-40B4-BE49-F238E27FC236}">
                    <a16:creationId xmlns:a16="http://schemas.microsoft.com/office/drawing/2014/main" id="{9E07E660-B7CC-40CE-8BC4-9295111E2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5" y="2176"/>
                <a:ext cx="1116" cy="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163">
                <a:extLst>
                  <a:ext uri="{FF2B5EF4-FFF2-40B4-BE49-F238E27FC236}">
                    <a16:creationId xmlns:a16="http://schemas.microsoft.com/office/drawing/2014/main" id="{AA63E354-0CD3-47B9-B026-BF9EF8569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" y="1813"/>
                <a:ext cx="145" cy="342"/>
              </a:xfrm>
              <a:custGeom>
                <a:avLst/>
                <a:gdLst>
                  <a:gd name="T0" fmla="*/ 37 w 61"/>
                  <a:gd name="T1" fmla="*/ 144 h 144"/>
                  <a:gd name="T2" fmla="*/ 57 w 61"/>
                  <a:gd name="T3" fmla="*/ 69 h 144"/>
                  <a:gd name="T4" fmla="*/ 53 w 61"/>
                  <a:gd name="T5" fmla="*/ 33 h 144"/>
                  <a:gd name="T6" fmla="*/ 34 w 61"/>
                  <a:gd name="T7" fmla="*/ 7 h 144"/>
                  <a:gd name="T8" fmla="*/ 0 w 61"/>
                  <a:gd name="T9" fmla="*/ 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44">
                    <a:moveTo>
                      <a:pt x="37" y="144"/>
                    </a:moveTo>
                    <a:cubicBezTo>
                      <a:pt x="50" y="122"/>
                      <a:pt x="54" y="94"/>
                      <a:pt x="57" y="69"/>
                    </a:cubicBezTo>
                    <a:cubicBezTo>
                      <a:pt x="59" y="57"/>
                      <a:pt x="61" y="40"/>
                      <a:pt x="53" y="33"/>
                    </a:cubicBezTo>
                    <a:cubicBezTo>
                      <a:pt x="44" y="25"/>
                      <a:pt x="44" y="13"/>
                      <a:pt x="34" y="7"/>
                    </a:cubicBezTo>
                    <a:cubicBezTo>
                      <a:pt x="23" y="1"/>
                      <a:pt x="10" y="0"/>
                      <a:pt x="0" y="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Freeform 164">
                <a:extLst>
                  <a:ext uri="{FF2B5EF4-FFF2-40B4-BE49-F238E27FC236}">
                    <a16:creationId xmlns:a16="http://schemas.microsoft.com/office/drawing/2014/main" id="{6DE70C93-9092-498F-9DAA-D96B5B6A0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1834"/>
                <a:ext cx="240" cy="506"/>
              </a:xfrm>
              <a:custGeom>
                <a:avLst/>
                <a:gdLst>
                  <a:gd name="T0" fmla="*/ 72 w 101"/>
                  <a:gd name="T1" fmla="*/ 211 h 213"/>
                  <a:gd name="T2" fmla="*/ 72 w 101"/>
                  <a:gd name="T3" fmla="*/ 211 h 213"/>
                  <a:gd name="T4" fmla="*/ 34 w 101"/>
                  <a:gd name="T5" fmla="*/ 178 h 213"/>
                  <a:gd name="T6" fmla="*/ 33 w 101"/>
                  <a:gd name="T7" fmla="*/ 140 h 213"/>
                  <a:gd name="T8" fmla="*/ 2 w 101"/>
                  <a:gd name="T9" fmla="*/ 109 h 213"/>
                  <a:gd name="T10" fmla="*/ 1 w 101"/>
                  <a:gd name="T11" fmla="*/ 16 h 213"/>
                  <a:gd name="T12" fmla="*/ 101 w 101"/>
                  <a:gd name="T13" fmla="*/ 22 h 213"/>
                  <a:gd name="T14" fmla="*/ 99 w 101"/>
                  <a:gd name="T15" fmla="*/ 122 h 213"/>
                  <a:gd name="T16" fmla="*/ 99 w 101"/>
                  <a:gd name="T17" fmla="*/ 175 h 213"/>
                  <a:gd name="T18" fmla="*/ 72 w 101"/>
                  <a:gd name="T19" fmla="*/ 211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13">
                    <a:moveTo>
                      <a:pt x="72" y="211"/>
                    </a:moveTo>
                    <a:cubicBezTo>
                      <a:pt x="72" y="211"/>
                      <a:pt x="72" y="211"/>
                      <a:pt x="72" y="211"/>
                    </a:cubicBezTo>
                    <a:cubicBezTo>
                      <a:pt x="52" y="213"/>
                      <a:pt x="35" y="198"/>
                      <a:pt x="34" y="178"/>
                    </a:cubicBezTo>
                    <a:cubicBezTo>
                      <a:pt x="34" y="159"/>
                      <a:pt x="33" y="140"/>
                      <a:pt x="33" y="140"/>
                    </a:cubicBezTo>
                    <a:cubicBezTo>
                      <a:pt x="33" y="140"/>
                      <a:pt x="4" y="138"/>
                      <a:pt x="2" y="109"/>
                    </a:cubicBezTo>
                    <a:cubicBezTo>
                      <a:pt x="0" y="81"/>
                      <a:pt x="1" y="16"/>
                      <a:pt x="1" y="16"/>
                    </a:cubicBezTo>
                    <a:cubicBezTo>
                      <a:pt x="33" y="0"/>
                      <a:pt x="71" y="2"/>
                      <a:pt x="101" y="22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99" y="175"/>
                      <a:pt x="99" y="175"/>
                      <a:pt x="99" y="175"/>
                    </a:cubicBezTo>
                    <a:cubicBezTo>
                      <a:pt x="99" y="193"/>
                      <a:pt x="90" y="210"/>
                      <a:pt x="72" y="211"/>
                    </a:cubicBez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Freeform 165">
                <a:extLst>
                  <a:ext uri="{FF2B5EF4-FFF2-40B4-BE49-F238E27FC236}">
                    <a16:creationId xmlns:a16="http://schemas.microsoft.com/office/drawing/2014/main" id="{9A95FE9E-DD9C-412E-820B-63D98AA6E8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784"/>
                <a:ext cx="330" cy="394"/>
              </a:xfrm>
              <a:custGeom>
                <a:avLst/>
                <a:gdLst>
                  <a:gd name="T0" fmla="*/ 54 w 139"/>
                  <a:gd name="T1" fmla="*/ 96 h 166"/>
                  <a:gd name="T2" fmla="*/ 73 w 139"/>
                  <a:gd name="T3" fmla="*/ 92 h 166"/>
                  <a:gd name="T4" fmla="*/ 78 w 139"/>
                  <a:gd name="T5" fmla="*/ 112 h 166"/>
                  <a:gd name="T6" fmla="*/ 65 w 139"/>
                  <a:gd name="T7" fmla="*/ 123 h 166"/>
                  <a:gd name="T8" fmla="*/ 56 w 139"/>
                  <a:gd name="T9" fmla="*/ 134 h 166"/>
                  <a:gd name="T10" fmla="*/ 74 w 139"/>
                  <a:gd name="T11" fmla="*/ 150 h 166"/>
                  <a:gd name="T12" fmla="*/ 113 w 139"/>
                  <a:gd name="T13" fmla="*/ 164 h 166"/>
                  <a:gd name="T14" fmla="*/ 130 w 139"/>
                  <a:gd name="T15" fmla="*/ 156 h 166"/>
                  <a:gd name="T16" fmla="*/ 137 w 139"/>
                  <a:gd name="T17" fmla="*/ 133 h 166"/>
                  <a:gd name="T18" fmla="*/ 138 w 139"/>
                  <a:gd name="T19" fmla="*/ 71 h 166"/>
                  <a:gd name="T20" fmla="*/ 137 w 139"/>
                  <a:gd name="T21" fmla="*/ 48 h 166"/>
                  <a:gd name="T22" fmla="*/ 125 w 139"/>
                  <a:gd name="T23" fmla="*/ 30 h 166"/>
                  <a:gd name="T24" fmla="*/ 102 w 139"/>
                  <a:gd name="T25" fmla="*/ 22 h 166"/>
                  <a:gd name="T26" fmla="*/ 75 w 139"/>
                  <a:gd name="T27" fmla="*/ 8 h 166"/>
                  <a:gd name="T28" fmla="*/ 45 w 139"/>
                  <a:gd name="T29" fmla="*/ 5 h 166"/>
                  <a:gd name="T30" fmla="*/ 27 w 139"/>
                  <a:gd name="T31" fmla="*/ 18 h 166"/>
                  <a:gd name="T32" fmla="*/ 1 w 139"/>
                  <a:gd name="T33" fmla="*/ 36 h 166"/>
                  <a:gd name="T34" fmla="*/ 2 w 139"/>
                  <a:gd name="T35" fmla="*/ 50 h 166"/>
                  <a:gd name="T36" fmla="*/ 47 w 139"/>
                  <a:gd name="T37" fmla="*/ 68 h 166"/>
                  <a:gd name="T38" fmla="*/ 47 w 139"/>
                  <a:gd name="T39" fmla="*/ 88 h 166"/>
                  <a:gd name="T40" fmla="*/ 54 w 139"/>
                  <a:gd name="T41" fmla="*/ 9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9" h="166">
                    <a:moveTo>
                      <a:pt x="54" y="96"/>
                    </a:moveTo>
                    <a:cubicBezTo>
                      <a:pt x="58" y="90"/>
                      <a:pt x="66" y="87"/>
                      <a:pt x="73" y="92"/>
                    </a:cubicBezTo>
                    <a:cubicBezTo>
                      <a:pt x="79" y="96"/>
                      <a:pt x="82" y="105"/>
                      <a:pt x="78" y="112"/>
                    </a:cubicBezTo>
                    <a:cubicBezTo>
                      <a:pt x="76" y="117"/>
                      <a:pt x="70" y="121"/>
                      <a:pt x="65" y="123"/>
                    </a:cubicBezTo>
                    <a:cubicBezTo>
                      <a:pt x="59" y="124"/>
                      <a:pt x="55" y="129"/>
                      <a:pt x="56" y="134"/>
                    </a:cubicBezTo>
                    <a:cubicBezTo>
                      <a:pt x="57" y="141"/>
                      <a:pt x="69" y="144"/>
                      <a:pt x="74" y="150"/>
                    </a:cubicBezTo>
                    <a:cubicBezTo>
                      <a:pt x="82" y="159"/>
                      <a:pt x="100" y="163"/>
                      <a:pt x="113" y="164"/>
                    </a:cubicBezTo>
                    <a:cubicBezTo>
                      <a:pt x="125" y="166"/>
                      <a:pt x="123" y="166"/>
                      <a:pt x="130" y="156"/>
                    </a:cubicBezTo>
                    <a:cubicBezTo>
                      <a:pt x="135" y="149"/>
                      <a:pt x="137" y="142"/>
                      <a:pt x="137" y="133"/>
                    </a:cubicBezTo>
                    <a:cubicBezTo>
                      <a:pt x="138" y="112"/>
                      <a:pt x="138" y="91"/>
                      <a:pt x="138" y="71"/>
                    </a:cubicBezTo>
                    <a:cubicBezTo>
                      <a:pt x="139" y="63"/>
                      <a:pt x="139" y="55"/>
                      <a:pt x="137" y="48"/>
                    </a:cubicBezTo>
                    <a:cubicBezTo>
                      <a:pt x="135" y="41"/>
                      <a:pt x="131" y="34"/>
                      <a:pt x="125" y="30"/>
                    </a:cubicBezTo>
                    <a:cubicBezTo>
                      <a:pt x="118" y="25"/>
                      <a:pt x="110" y="25"/>
                      <a:pt x="102" y="22"/>
                    </a:cubicBezTo>
                    <a:cubicBezTo>
                      <a:pt x="92" y="19"/>
                      <a:pt x="84" y="12"/>
                      <a:pt x="75" y="8"/>
                    </a:cubicBezTo>
                    <a:cubicBezTo>
                      <a:pt x="65" y="3"/>
                      <a:pt x="54" y="0"/>
                      <a:pt x="45" y="5"/>
                    </a:cubicBezTo>
                    <a:cubicBezTo>
                      <a:pt x="38" y="8"/>
                      <a:pt x="34" y="15"/>
                      <a:pt x="27" y="18"/>
                    </a:cubicBezTo>
                    <a:cubicBezTo>
                      <a:pt x="18" y="24"/>
                      <a:pt x="6" y="22"/>
                      <a:pt x="1" y="36"/>
                    </a:cubicBezTo>
                    <a:cubicBezTo>
                      <a:pt x="0" y="40"/>
                      <a:pt x="0" y="46"/>
                      <a:pt x="2" y="50"/>
                    </a:cubicBezTo>
                    <a:cubicBezTo>
                      <a:pt x="8" y="69"/>
                      <a:pt x="30" y="76"/>
                      <a:pt x="47" y="68"/>
                    </a:cubicBezTo>
                    <a:cubicBezTo>
                      <a:pt x="47" y="71"/>
                      <a:pt x="44" y="78"/>
                      <a:pt x="47" y="88"/>
                    </a:cubicBezTo>
                    <a:cubicBezTo>
                      <a:pt x="48" y="91"/>
                      <a:pt x="49" y="96"/>
                      <a:pt x="54" y="96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Freeform 166">
                <a:extLst>
                  <a:ext uri="{FF2B5EF4-FFF2-40B4-BE49-F238E27FC236}">
                    <a16:creationId xmlns:a16="http://schemas.microsoft.com/office/drawing/2014/main" id="{CC1B498B-51BC-4C96-8453-1B90FE9EE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2019"/>
                <a:ext cx="29" cy="43"/>
              </a:xfrm>
              <a:custGeom>
                <a:avLst/>
                <a:gdLst>
                  <a:gd name="T0" fmla="*/ 1 w 12"/>
                  <a:gd name="T1" fmla="*/ 14 h 18"/>
                  <a:gd name="T2" fmla="*/ 4 w 12"/>
                  <a:gd name="T3" fmla="*/ 16 h 18"/>
                  <a:gd name="T4" fmla="*/ 9 w 12"/>
                  <a:gd name="T5" fmla="*/ 9 h 18"/>
                  <a:gd name="T6" fmla="*/ 5 w 12"/>
                  <a:gd name="T7" fmla="*/ 2 h 18"/>
                  <a:gd name="T8" fmla="*/ 1 w 12"/>
                  <a:gd name="T9" fmla="*/ 2 h 18"/>
                  <a:gd name="T10" fmla="*/ 5 w 12"/>
                  <a:gd name="T11" fmla="*/ 1 h 18"/>
                  <a:gd name="T12" fmla="*/ 9 w 12"/>
                  <a:gd name="T13" fmla="*/ 3 h 18"/>
                  <a:gd name="T14" fmla="*/ 12 w 12"/>
                  <a:gd name="T15" fmla="*/ 9 h 18"/>
                  <a:gd name="T16" fmla="*/ 4 w 12"/>
                  <a:gd name="T17" fmla="*/ 17 h 18"/>
                  <a:gd name="T18" fmla="*/ 1 w 12"/>
                  <a:gd name="T19" fmla="*/ 16 h 18"/>
                  <a:gd name="T20" fmla="*/ 1 w 12"/>
                  <a:gd name="T2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8">
                    <a:moveTo>
                      <a:pt x="1" y="14"/>
                    </a:moveTo>
                    <a:cubicBezTo>
                      <a:pt x="1" y="14"/>
                      <a:pt x="2" y="16"/>
                      <a:pt x="4" y="16"/>
                    </a:cubicBezTo>
                    <a:cubicBezTo>
                      <a:pt x="6" y="16"/>
                      <a:pt x="9" y="13"/>
                      <a:pt x="9" y="9"/>
                    </a:cubicBezTo>
                    <a:cubicBezTo>
                      <a:pt x="10" y="6"/>
                      <a:pt x="7" y="3"/>
                      <a:pt x="5" y="2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0" y="1"/>
                      <a:pt x="2" y="0"/>
                      <a:pt x="5" y="1"/>
                    </a:cubicBezTo>
                    <a:cubicBezTo>
                      <a:pt x="6" y="1"/>
                      <a:pt x="8" y="2"/>
                      <a:pt x="9" y="3"/>
                    </a:cubicBezTo>
                    <a:cubicBezTo>
                      <a:pt x="11" y="5"/>
                      <a:pt x="12" y="7"/>
                      <a:pt x="12" y="9"/>
                    </a:cubicBezTo>
                    <a:cubicBezTo>
                      <a:pt x="11" y="14"/>
                      <a:pt x="7" y="18"/>
                      <a:pt x="4" y="17"/>
                    </a:cubicBezTo>
                    <a:cubicBezTo>
                      <a:pt x="3" y="17"/>
                      <a:pt x="2" y="16"/>
                      <a:pt x="1" y="16"/>
                    </a:cubicBezTo>
                    <a:cubicBezTo>
                      <a:pt x="1" y="15"/>
                      <a:pt x="1" y="14"/>
                      <a:pt x="1" y="14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Freeform 167">
                <a:extLst>
                  <a:ext uri="{FF2B5EF4-FFF2-40B4-BE49-F238E27FC236}">
                    <a16:creationId xmlns:a16="http://schemas.microsoft.com/office/drawing/2014/main" id="{E0371304-44F5-4BE7-9C54-94684DAD0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0" y="1836"/>
                <a:ext cx="111" cy="131"/>
              </a:xfrm>
              <a:custGeom>
                <a:avLst/>
                <a:gdLst>
                  <a:gd name="T0" fmla="*/ 0 w 47"/>
                  <a:gd name="T1" fmla="*/ 6 h 55"/>
                  <a:gd name="T2" fmla="*/ 2 w 47"/>
                  <a:gd name="T3" fmla="*/ 4 h 55"/>
                  <a:gd name="T4" fmla="*/ 11 w 47"/>
                  <a:gd name="T5" fmla="*/ 0 h 55"/>
                  <a:gd name="T6" fmla="*/ 25 w 47"/>
                  <a:gd name="T7" fmla="*/ 2 h 55"/>
                  <a:gd name="T8" fmla="*/ 37 w 47"/>
                  <a:gd name="T9" fmla="*/ 14 h 55"/>
                  <a:gd name="T10" fmla="*/ 46 w 47"/>
                  <a:gd name="T11" fmla="*/ 42 h 55"/>
                  <a:gd name="T12" fmla="*/ 47 w 47"/>
                  <a:gd name="T13" fmla="*/ 55 h 55"/>
                  <a:gd name="T14" fmla="*/ 44 w 47"/>
                  <a:gd name="T15" fmla="*/ 42 h 55"/>
                  <a:gd name="T16" fmla="*/ 35 w 47"/>
                  <a:gd name="T17" fmla="*/ 15 h 55"/>
                  <a:gd name="T18" fmla="*/ 24 w 47"/>
                  <a:gd name="T19" fmla="*/ 4 h 55"/>
                  <a:gd name="T20" fmla="*/ 11 w 47"/>
                  <a:gd name="T21" fmla="*/ 2 h 55"/>
                  <a:gd name="T22" fmla="*/ 0 w 47"/>
                  <a:gd name="T2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55">
                    <a:moveTo>
                      <a:pt x="0" y="6"/>
                    </a:moveTo>
                    <a:cubicBezTo>
                      <a:pt x="0" y="6"/>
                      <a:pt x="1" y="5"/>
                      <a:pt x="2" y="4"/>
                    </a:cubicBezTo>
                    <a:cubicBezTo>
                      <a:pt x="4" y="2"/>
                      <a:pt x="7" y="1"/>
                      <a:pt x="11" y="0"/>
                    </a:cubicBezTo>
                    <a:cubicBezTo>
                      <a:pt x="15" y="0"/>
                      <a:pt x="20" y="0"/>
                      <a:pt x="25" y="2"/>
                    </a:cubicBezTo>
                    <a:cubicBezTo>
                      <a:pt x="29" y="5"/>
                      <a:pt x="34" y="9"/>
                      <a:pt x="37" y="14"/>
                    </a:cubicBezTo>
                    <a:cubicBezTo>
                      <a:pt x="44" y="24"/>
                      <a:pt x="45" y="35"/>
                      <a:pt x="46" y="42"/>
                    </a:cubicBezTo>
                    <a:cubicBezTo>
                      <a:pt x="47" y="50"/>
                      <a:pt x="47" y="55"/>
                      <a:pt x="47" y="55"/>
                    </a:cubicBezTo>
                    <a:cubicBezTo>
                      <a:pt x="46" y="55"/>
                      <a:pt x="45" y="50"/>
                      <a:pt x="44" y="42"/>
                    </a:cubicBezTo>
                    <a:cubicBezTo>
                      <a:pt x="43" y="35"/>
                      <a:pt x="42" y="24"/>
                      <a:pt x="35" y="15"/>
                    </a:cubicBezTo>
                    <a:cubicBezTo>
                      <a:pt x="32" y="10"/>
                      <a:pt x="28" y="6"/>
                      <a:pt x="24" y="4"/>
                    </a:cubicBezTo>
                    <a:cubicBezTo>
                      <a:pt x="19" y="2"/>
                      <a:pt x="15" y="2"/>
                      <a:pt x="11" y="2"/>
                    </a:cubicBezTo>
                    <a:cubicBezTo>
                      <a:pt x="4" y="3"/>
                      <a:pt x="0" y="7"/>
                      <a:pt x="0" y="6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168">
                <a:extLst>
                  <a:ext uri="{FF2B5EF4-FFF2-40B4-BE49-F238E27FC236}">
                    <a16:creationId xmlns:a16="http://schemas.microsoft.com/office/drawing/2014/main" id="{5A680426-362F-482F-AB64-E973B3CF9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" y="1822"/>
                <a:ext cx="182" cy="98"/>
              </a:xfrm>
              <a:custGeom>
                <a:avLst/>
                <a:gdLst>
                  <a:gd name="T0" fmla="*/ 8 w 77"/>
                  <a:gd name="T1" fmla="*/ 41 h 41"/>
                  <a:gd name="T2" fmla="*/ 7 w 77"/>
                  <a:gd name="T3" fmla="*/ 41 h 41"/>
                  <a:gd name="T4" fmla="*/ 5 w 77"/>
                  <a:gd name="T5" fmla="*/ 40 h 41"/>
                  <a:gd name="T6" fmla="*/ 1 w 77"/>
                  <a:gd name="T7" fmla="*/ 36 h 41"/>
                  <a:gd name="T8" fmla="*/ 0 w 77"/>
                  <a:gd name="T9" fmla="*/ 29 h 41"/>
                  <a:gd name="T10" fmla="*/ 5 w 77"/>
                  <a:gd name="T11" fmla="*/ 23 h 41"/>
                  <a:gd name="T12" fmla="*/ 14 w 77"/>
                  <a:gd name="T13" fmla="*/ 21 h 41"/>
                  <a:gd name="T14" fmla="*/ 22 w 77"/>
                  <a:gd name="T15" fmla="*/ 19 h 41"/>
                  <a:gd name="T16" fmla="*/ 29 w 77"/>
                  <a:gd name="T17" fmla="*/ 12 h 41"/>
                  <a:gd name="T18" fmla="*/ 47 w 77"/>
                  <a:gd name="T19" fmla="*/ 1 h 41"/>
                  <a:gd name="T20" fmla="*/ 64 w 77"/>
                  <a:gd name="T21" fmla="*/ 1 h 41"/>
                  <a:gd name="T22" fmla="*/ 74 w 77"/>
                  <a:gd name="T23" fmla="*/ 5 h 41"/>
                  <a:gd name="T24" fmla="*/ 77 w 77"/>
                  <a:gd name="T25" fmla="*/ 7 h 41"/>
                  <a:gd name="T26" fmla="*/ 63 w 77"/>
                  <a:gd name="T27" fmla="*/ 2 h 41"/>
                  <a:gd name="T28" fmla="*/ 47 w 77"/>
                  <a:gd name="T29" fmla="*/ 3 h 41"/>
                  <a:gd name="T30" fmla="*/ 31 w 77"/>
                  <a:gd name="T31" fmla="*/ 13 h 41"/>
                  <a:gd name="T32" fmla="*/ 24 w 77"/>
                  <a:gd name="T33" fmla="*/ 21 h 41"/>
                  <a:gd name="T34" fmla="*/ 19 w 77"/>
                  <a:gd name="T35" fmla="*/ 23 h 41"/>
                  <a:gd name="T36" fmla="*/ 14 w 77"/>
                  <a:gd name="T37" fmla="*/ 23 h 41"/>
                  <a:gd name="T38" fmla="*/ 6 w 77"/>
                  <a:gd name="T39" fmla="*/ 24 h 41"/>
                  <a:gd name="T40" fmla="*/ 2 w 77"/>
                  <a:gd name="T41" fmla="*/ 30 h 41"/>
                  <a:gd name="T42" fmla="*/ 5 w 77"/>
                  <a:gd name="T43" fmla="*/ 39 h 41"/>
                  <a:gd name="T44" fmla="*/ 8 w 77"/>
                  <a:gd name="T4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7" h="41">
                    <a:moveTo>
                      <a:pt x="8" y="41"/>
                    </a:moveTo>
                    <a:cubicBezTo>
                      <a:pt x="8" y="41"/>
                      <a:pt x="8" y="41"/>
                      <a:pt x="7" y="41"/>
                    </a:cubicBezTo>
                    <a:cubicBezTo>
                      <a:pt x="7" y="41"/>
                      <a:pt x="6" y="41"/>
                      <a:pt x="5" y="40"/>
                    </a:cubicBezTo>
                    <a:cubicBezTo>
                      <a:pt x="3" y="39"/>
                      <a:pt x="2" y="38"/>
                      <a:pt x="1" y="36"/>
                    </a:cubicBezTo>
                    <a:cubicBezTo>
                      <a:pt x="0" y="34"/>
                      <a:pt x="0" y="32"/>
                      <a:pt x="0" y="29"/>
                    </a:cubicBezTo>
                    <a:cubicBezTo>
                      <a:pt x="1" y="27"/>
                      <a:pt x="2" y="25"/>
                      <a:pt x="5" y="23"/>
                    </a:cubicBezTo>
                    <a:cubicBezTo>
                      <a:pt x="8" y="21"/>
                      <a:pt x="11" y="21"/>
                      <a:pt x="14" y="21"/>
                    </a:cubicBezTo>
                    <a:cubicBezTo>
                      <a:pt x="17" y="21"/>
                      <a:pt x="20" y="21"/>
                      <a:pt x="22" y="19"/>
                    </a:cubicBezTo>
                    <a:cubicBezTo>
                      <a:pt x="25" y="17"/>
                      <a:pt x="27" y="14"/>
                      <a:pt x="29" y="12"/>
                    </a:cubicBezTo>
                    <a:cubicBezTo>
                      <a:pt x="34" y="6"/>
                      <a:pt x="41" y="3"/>
                      <a:pt x="47" y="1"/>
                    </a:cubicBezTo>
                    <a:cubicBezTo>
                      <a:pt x="53" y="0"/>
                      <a:pt x="59" y="0"/>
                      <a:pt x="64" y="1"/>
                    </a:cubicBezTo>
                    <a:cubicBezTo>
                      <a:pt x="68" y="2"/>
                      <a:pt x="72" y="4"/>
                      <a:pt x="74" y="5"/>
                    </a:cubicBezTo>
                    <a:cubicBezTo>
                      <a:pt x="76" y="6"/>
                      <a:pt x="77" y="7"/>
                      <a:pt x="77" y="7"/>
                    </a:cubicBezTo>
                    <a:cubicBezTo>
                      <a:pt x="77" y="8"/>
                      <a:pt x="72" y="4"/>
                      <a:pt x="63" y="2"/>
                    </a:cubicBezTo>
                    <a:cubicBezTo>
                      <a:pt x="59" y="2"/>
                      <a:pt x="53" y="2"/>
                      <a:pt x="47" y="3"/>
                    </a:cubicBezTo>
                    <a:cubicBezTo>
                      <a:pt x="42" y="5"/>
                      <a:pt x="36" y="8"/>
                      <a:pt x="31" y="13"/>
                    </a:cubicBezTo>
                    <a:cubicBezTo>
                      <a:pt x="29" y="15"/>
                      <a:pt x="27" y="18"/>
                      <a:pt x="24" y="21"/>
                    </a:cubicBezTo>
                    <a:cubicBezTo>
                      <a:pt x="22" y="22"/>
                      <a:pt x="21" y="22"/>
                      <a:pt x="19" y="23"/>
                    </a:cubicBezTo>
                    <a:cubicBezTo>
                      <a:pt x="17" y="23"/>
                      <a:pt x="15" y="23"/>
                      <a:pt x="14" y="23"/>
                    </a:cubicBezTo>
                    <a:cubicBezTo>
                      <a:pt x="11" y="23"/>
                      <a:pt x="8" y="23"/>
                      <a:pt x="6" y="24"/>
                    </a:cubicBezTo>
                    <a:cubicBezTo>
                      <a:pt x="4" y="26"/>
                      <a:pt x="2" y="28"/>
                      <a:pt x="2" y="30"/>
                    </a:cubicBezTo>
                    <a:cubicBezTo>
                      <a:pt x="1" y="34"/>
                      <a:pt x="3" y="38"/>
                      <a:pt x="5" y="39"/>
                    </a:cubicBezTo>
                    <a:cubicBezTo>
                      <a:pt x="7" y="41"/>
                      <a:pt x="9" y="41"/>
                      <a:pt x="8" y="4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Freeform 169">
                <a:extLst>
                  <a:ext uri="{FF2B5EF4-FFF2-40B4-BE49-F238E27FC236}">
                    <a16:creationId xmlns:a16="http://schemas.microsoft.com/office/drawing/2014/main" id="{A7B6E5C3-8661-47C1-9D16-87D58CD2E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" y="1896"/>
                <a:ext cx="102" cy="211"/>
              </a:xfrm>
              <a:custGeom>
                <a:avLst/>
                <a:gdLst>
                  <a:gd name="T0" fmla="*/ 26 w 43"/>
                  <a:gd name="T1" fmla="*/ 89 h 89"/>
                  <a:gd name="T2" fmla="*/ 30 w 43"/>
                  <a:gd name="T3" fmla="*/ 87 h 89"/>
                  <a:gd name="T4" fmla="*/ 38 w 43"/>
                  <a:gd name="T5" fmla="*/ 78 h 89"/>
                  <a:gd name="T6" fmla="*/ 39 w 43"/>
                  <a:gd name="T7" fmla="*/ 61 h 89"/>
                  <a:gd name="T8" fmla="*/ 34 w 43"/>
                  <a:gd name="T9" fmla="*/ 53 h 89"/>
                  <a:gd name="T10" fmla="*/ 25 w 43"/>
                  <a:gd name="T11" fmla="*/ 46 h 89"/>
                  <a:gd name="T12" fmla="*/ 15 w 43"/>
                  <a:gd name="T13" fmla="*/ 41 h 89"/>
                  <a:gd name="T14" fmla="*/ 7 w 43"/>
                  <a:gd name="T15" fmla="*/ 33 h 89"/>
                  <a:gd name="T16" fmla="*/ 1 w 43"/>
                  <a:gd name="T17" fmla="*/ 16 h 89"/>
                  <a:gd name="T18" fmla="*/ 2 w 43"/>
                  <a:gd name="T19" fmla="*/ 4 h 89"/>
                  <a:gd name="T20" fmla="*/ 3 w 43"/>
                  <a:gd name="T21" fmla="*/ 1 h 89"/>
                  <a:gd name="T22" fmla="*/ 3 w 43"/>
                  <a:gd name="T23" fmla="*/ 0 h 89"/>
                  <a:gd name="T24" fmla="*/ 2 w 43"/>
                  <a:gd name="T25" fmla="*/ 16 h 89"/>
                  <a:gd name="T26" fmla="*/ 9 w 43"/>
                  <a:gd name="T27" fmla="*/ 32 h 89"/>
                  <a:gd name="T28" fmla="*/ 16 w 43"/>
                  <a:gd name="T29" fmla="*/ 39 h 89"/>
                  <a:gd name="T30" fmla="*/ 26 w 43"/>
                  <a:gd name="T31" fmla="*/ 45 h 89"/>
                  <a:gd name="T32" fmla="*/ 35 w 43"/>
                  <a:gd name="T33" fmla="*/ 51 h 89"/>
                  <a:gd name="T34" fmla="*/ 41 w 43"/>
                  <a:gd name="T35" fmla="*/ 61 h 89"/>
                  <a:gd name="T36" fmla="*/ 39 w 43"/>
                  <a:gd name="T37" fmla="*/ 79 h 89"/>
                  <a:gd name="T38" fmla="*/ 30 w 43"/>
                  <a:gd name="T39" fmla="*/ 87 h 89"/>
                  <a:gd name="T40" fmla="*/ 26 w 43"/>
                  <a:gd name="T41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89">
                    <a:moveTo>
                      <a:pt x="26" y="89"/>
                    </a:moveTo>
                    <a:cubicBezTo>
                      <a:pt x="26" y="89"/>
                      <a:pt x="28" y="88"/>
                      <a:pt x="30" y="87"/>
                    </a:cubicBezTo>
                    <a:cubicBezTo>
                      <a:pt x="32" y="85"/>
                      <a:pt x="35" y="82"/>
                      <a:pt x="38" y="78"/>
                    </a:cubicBezTo>
                    <a:cubicBezTo>
                      <a:pt x="40" y="74"/>
                      <a:pt x="41" y="67"/>
                      <a:pt x="39" y="61"/>
                    </a:cubicBezTo>
                    <a:cubicBezTo>
                      <a:pt x="38" y="58"/>
                      <a:pt x="36" y="55"/>
                      <a:pt x="34" y="53"/>
                    </a:cubicBezTo>
                    <a:cubicBezTo>
                      <a:pt x="31" y="50"/>
                      <a:pt x="28" y="48"/>
                      <a:pt x="25" y="46"/>
                    </a:cubicBezTo>
                    <a:cubicBezTo>
                      <a:pt x="22" y="44"/>
                      <a:pt x="18" y="43"/>
                      <a:pt x="15" y="41"/>
                    </a:cubicBezTo>
                    <a:cubicBezTo>
                      <a:pt x="12" y="38"/>
                      <a:pt x="9" y="36"/>
                      <a:pt x="7" y="33"/>
                    </a:cubicBezTo>
                    <a:cubicBezTo>
                      <a:pt x="3" y="28"/>
                      <a:pt x="1" y="22"/>
                      <a:pt x="1" y="16"/>
                    </a:cubicBezTo>
                    <a:cubicBezTo>
                      <a:pt x="0" y="11"/>
                      <a:pt x="1" y="7"/>
                      <a:pt x="2" y="4"/>
                    </a:cubicBezTo>
                    <a:cubicBezTo>
                      <a:pt x="2" y="3"/>
                      <a:pt x="2" y="2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1" y="6"/>
                      <a:pt x="2" y="16"/>
                    </a:cubicBezTo>
                    <a:cubicBezTo>
                      <a:pt x="3" y="21"/>
                      <a:pt x="5" y="27"/>
                      <a:pt x="9" y="32"/>
                    </a:cubicBezTo>
                    <a:cubicBezTo>
                      <a:pt x="11" y="35"/>
                      <a:pt x="13" y="37"/>
                      <a:pt x="16" y="39"/>
                    </a:cubicBezTo>
                    <a:cubicBezTo>
                      <a:pt x="19" y="41"/>
                      <a:pt x="23" y="43"/>
                      <a:pt x="26" y="45"/>
                    </a:cubicBezTo>
                    <a:cubicBezTo>
                      <a:pt x="29" y="47"/>
                      <a:pt x="33" y="49"/>
                      <a:pt x="35" y="51"/>
                    </a:cubicBezTo>
                    <a:cubicBezTo>
                      <a:pt x="38" y="54"/>
                      <a:pt x="40" y="57"/>
                      <a:pt x="41" y="61"/>
                    </a:cubicBezTo>
                    <a:cubicBezTo>
                      <a:pt x="43" y="67"/>
                      <a:pt x="41" y="74"/>
                      <a:pt x="39" y="79"/>
                    </a:cubicBezTo>
                    <a:cubicBezTo>
                      <a:pt x="36" y="83"/>
                      <a:pt x="33" y="86"/>
                      <a:pt x="30" y="87"/>
                    </a:cubicBezTo>
                    <a:cubicBezTo>
                      <a:pt x="28" y="89"/>
                      <a:pt x="26" y="89"/>
                      <a:pt x="26" y="8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Freeform 170">
                <a:extLst>
                  <a:ext uri="{FF2B5EF4-FFF2-40B4-BE49-F238E27FC236}">
                    <a16:creationId xmlns:a16="http://schemas.microsoft.com/office/drawing/2014/main" id="{6CA3EF9A-766B-4647-9DCE-80D23FF3D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7" y="1891"/>
                <a:ext cx="159" cy="121"/>
              </a:xfrm>
              <a:custGeom>
                <a:avLst/>
                <a:gdLst>
                  <a:gd name="T0" fmla="*/ 67 w 67"/>
                  <a:gd name="T1" fmla="*/ 49 h 51"/>
                  <a:gd name="T2" fmla="*/ 64 w 67"/>
                  <a:gd name="T3" fmla="*/ 50 h 51"/>
                  <a:gd name="T4" fmla="*/ 53 w 67"/>
                  <a:gd name="T5" fmla="*/ 50 h 51"/>
                  <a:gd name="T6" fmla="*/ 22 w 67"/>
                  <a:gd name="T7" fmla="*/ 40 h 51"/>
                  <a:gd name="T8" fmla="*/ 1 w 67"/>
                  <a:gd name="T9" fmla="*/ 14 h 51"/>
                  <a:gd name="T10" fmla="*/ 1 w 67"/>
                  <a:gd name="T11" fmla="*/ 3 h 51"/>
                  <a:gd name="T12" fmla="*/ 2 w 67"/>
                  <a:gd name="T13" fmla="*/ 0 h 51"/>
                  <a:gd name="T14" fmla="*/ 3 w 67"/>
                  <a:gd name="T15" fmla="*/ 13 h 51"/>
                  <a:gd name="T16" fmla="*/ 23 w 67"/>
                  <a:gd name="T17" fmla="*/ 38 h 51"/>
                  <a:gd name="T18" fmla="*/ 53 w 67"/>
                  <a:gd name="T19" fmla="*/ 49 h 51"/>
                  <a:gd name="T20" fmla="*/ 67 w 67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" h="51">
                    <a:moveTo>
                      <a:pt x="67" y="49"/>
                    </a:moveTo>
                    <a:cubicBezTo>
                      <a:pt x="67" y="49"/>
                      <a:pt x="66" y="50"/>
                      <a:pt x="64" y="50"/>
                    </a:cubicBezTo>
                    <a:cubicBezTo>
                      <a:pt x="61" y="50"/>
                      <a:pt x="58" y="51"/>
                      <a:pt x="53" y="50"/>
                    </a:cubicBezTo>
                    <a:cubicBezTo>
                      <a:pt x="45" y="50"/>
                      <a:pt x="33" y="47"/>
                      <a:pt x="22" y="40"/>
                    </a:cubicBezTo>
                    <a:cubicBezTo>
                      <a:pt x="11" y="32"/>
                      <a:pt x="3" y="22"/>
                      <a:pt x="1" y="14"/>
                    </a:cubicBezTo>
                    <a:cubicBezTo>
                      <a:pt x="0" y="9"/>
                      <a:pt x="0" y="6"/>
                      <a:pt x="1" y="3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0" y="5"/>
                      <a:pt x="3" y="13"/>
                    </a:cubicBezTo>
                    <a:cubicBezTo>
                      <a:pt x="5" y="21"/>
                      <a:pt x="12" y="31"/>
                      <a:pt x="23" y="38"/>
                    </a:cubicBezTo>
                    <a:cubicBezTo>
                      <a:pt x="34" y="45"/>
                      <a:pt x="45" y="48"/>
                      <a:pt x="53" y="49"/>
                    </a:cubicBezTo>
                    <a:cubicBezTo>
                      <a:pt x="62" y="50"/>
                      <a:pt x="67" y="49"/>
                      <a:pt x="67" y="49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Freeform 171">
                <a:extLst>
                  <a:ext uri="{FF2B5EF4-FFF2-40B4-BE49-F238E27FC236}">
                    <a16:creationId xmlns:a16="http://schemas.microsoft.com/office/drawing/2014/main" id="{FE6BC0B2-7406-47AD-B9AD-9AD01E627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" y="1917"/>
                <a:ext cx="287" cy="364"/>
              </a:xfrm>
              <a:custGeom>
                <a:avLst/>
                <a:gdLst>
                  <a:gd name="T0" fmla="*/ 6 w 121"/>
                  <a:gd name="T1" fmla="*/ 19 h 153"/>
                  <a:gd name="T2" fmla="*/ 45 w 121"/>
                  <a:gd name="T3" fmla="*/ 1 h 153"/>
                  <a:gd name="T4" fmla="*/ 77 w 121"/>
                  <a:gd name="T5" fmla="*/ 27 h 153"/>
                  <a:gd name="T6" fmla="*/ 75 w 121"/>
                  <a:gd name="T7" fmla="*/ 60 h 153"/>
                  <a:gd name="T8" fmla="*/ 84 w 121"/>
                  <a:gd name="T9" fmla="*/ 90 h 153"/>
                  <a:gd name="T10" fmla="*/ 103 w 121"/>
                  <a:gd name="T11" fmla="*/ 96 h 153"/>
                  <a:gd name="T12" fmla="*/ 119 w 121"/>
                  <a:gd name="T13" fmla="*/ 107 h 153"/>
                  <a:gd name="T14" fmla="*/ 109 w 121"/>
                  <a:gd name="T15" fmla="*/ 126 h 153"/>
                  <a:gd name="T16" fmla="*/ 87 w 121"/>
                  <a:gd name="T17" fmla="*/ 126 h 153"/>
                  <a:gd name="T18" fmla="*/ 78 w 121"/>
                  <a:gd name="T19" fmla="*/ 149 h 153"/>
                  <a:gd name="T20" fmla="*/ 53 w 121"/>
                  <a:gd name="T21" fmla="*/ 148 h 153"/>
                  <a:gd name="T22" fmla="*/ 38 w 121"/>
                  <a:gd name="T23" fmla="*/ 127 h 153"/>
                  <a:gd name="T24" fmla="*/ 12 w 121"/>
                  <a:gd name="T25" fmla="*/ 132 h 153"/>
                  <a:gd name="T26" fmla="*/ 2 w 121"/>
                  <a:gd name="T27" fmla="*/ 106 h 153"/>
                  <a:gd name="T28" fmla="*/ 15 w 121"/>
                  <a:gd name="T29" fmla="*/ 80 h 153"/>
                  <a:gd name="T30" fmla="*/ 24 w 121"/>
                  <a:gd name="T31" fmla="*/ 69 h 153"/>
                  <a:gd name="T32" fmla="*/ 24 w 121"/>
                  <a:gd name="T33" fmla="*/ 55 h 153"/>
                  <a:gd name="T34" fmla="*/ 12 w 121"/>
                  <a:gd name="T35" fmla="*/ 5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1" h="153">
                    <a:moveTo>
                      <a:pt x="6" y="19"/>
                    </a:moveTo>
                    <a:cubicBezTo>
                      <a:pt x="15" y="8"/>
                      <a:pt x="30" y="0"/>
                      <a:pt x="45" y="1"/>
                    </a:cubicBezTo>
                    <a:cubicBezTo>
                      <a:pt x="59" y="2"/>
                      <a:pt x="74" y="12"/>
                      <a:pt x="77" y="27"/>
                    </a:cubicBezTo>
                    <a:cubicBezTo>
                      <a:pt x="80" y="37"/>
                      <a:pt x="77" y="49"/>
                      <a:pt x="75" y="60"/>
                    </a:cubicBezTo>
                    <a:cubicBezTo>
                      <a:pt x="74" y="71"/>
                      <a:pt x="75" y="83"/>
                      <a:pt x="84" y="90"/>
                    </a:cubicBezTo>
                    <a:cubicBezTo>
                      <a:pt x="90" y="94"/>
                      <a:pt x="97" y="95"/>
                      <a:pt x="103" y="96"/>
                    </a:cubicBezTo>
                    <a:cubicBezTo>
                      <a:pt x="110" y="98"/>
                      <a:pt x="117" y="101"/>
                      <a:pt x="119" y="107"/>
                    </a:cubicBezTo>
                    <a:cubicBezTo>
                      <a:pt x="121" y="115"/>
                      <a:pt x="116" y="123"/>
                      <a:pt x="109" y="126"/>
                    </a:cubicBezTo>
                    <a:cubicBezTo>
                      <a:pt x="102" y="129"/>
                      <a:pt x="94" y="128"/>
                      <a:pt x="87" y="126"/>
                    </a:cubicBezTo>
                    <a:cubicBezTo>
                      <a:pt x="90" y="134"/>
                      <a:pt x="86" y="144"/>
                      <a:pt x="78" y="149"/>
                    </a:cubicBezTo>
                    <a:cubicBezTo>
                      <a:pt x="71" y="153"/>
                      <a:pt x="61" y="152"/>
                      <a:pt x="53" y="148"/>
                    </a:cubicBezTo>
                    <a:cubicBezTo>
                      <a:pt x="46" y="143"/>
                      <a:pt x="40" y="135"/>
                      <a:pt x="38" y="127"/>
                    </a:cubicBezTo>
                    <a:cubicBezTo>
                      <a:pt x="33" y="136"/>
                      <a:pt x="20" y="137"/>
                      <a:pt x="12" y="132"/>
                    </a:cubicBezTo>
                    <a:cubicBezTo>
                      <a:pt x="4" y="127"/>
                      <a:pt x="0" y="116"/>
                      <a:pt x="2" y="106"/>
                    </a:cubicBezTo>
                    <a:cubicBezTo>
                      <a:pt x="3" y="96"/>
                      <a:pt x="8" y="88"/>
                      <a:pt x="15" y="80"/>
                    </a:cubicBezTo>
                    <a:cubicBezTo>
                      <a:pt x="18" y="77"/>
                      <a:pt x="21" y="73"/>
                      <a:pt x="24" y="69"/>
                    </a:cubicBezTo>
                    <a:cubicBezTo>
                      <a:pt x="26" y="64"/>
                      <a:pt x="27" y="59"/>
                      <a:pt x="24" y="55"/>
                    </a:cubicBezTo>
                    <a:cubicBezTo>
                      <a:pt x="22" y="50"/>
                      <a:pt x="15" y="49"/>
                      <a:pt x="12" y="52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Freeform 172">
                <a:extLst>
                  <a:ext uri="{FF2B5EF4-FFF2-40B4-BE49-F238E27FC236}">
                    <a16:creationId xmlns:a16="http://schemas.microsoft.com/office/drawing/2014/main" id="{5C9D28AA-675F-4E53-94A2-BC5991FD85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6" y="1939"/>
                <a:ext cx="53" cy="97"/>
              </a:xfrm>
              <a:custGeom>
                <a:avLst/>
                <a:gdLst>
                  <a:gd name="T0" fmla="*/ 22 w 22"/>
                  <a:gd name="T1" fmla="*/ 40 h 41"/>
                  <a:gd name="T2" fmla="*/ 13 w 22"/>
                  <a:gd name="T3" fmla="*/ 39 h 41"/>
                  <a:gd name="T4" fmla="*/ 1 w 22"/>
                  <a:gd name="T5" fmla="*/ 23 h 41"/>
                  <a:gd name="T6" fmla="*/ 2 w 22"/>
                  <a:gd name="T7" fmla="*/ 12 h 41"/>
                  <a:gd name="T8" fmla="*/ 8 w 22"/>
                  <a:gd name="T9" fmla="*/ 4 h 41"/>
                  <a:gd name="T10" fmla="*/ 15 w 22"/>
                  <a:gd name="T11" fmla="*/ 0 h 41"/>
                  <a:gd name="T12" fmla="*/ 9 w 22"/>
                  <a:gd name="T13" fmla="*/ 5 h 41"/>
                  <a:gd name="T14" fmla="*/ 3 w 22"/>
                  <a:gd name="T15" fmla="*/ 23 h 41"/>
                  <a:gd name="T16" fmla="*/ 14 w 22"/>
                  <a:gd name="T17" fmla="*/ 38 h 41"/>
                  <a:gd name="T18" fmla="*/ 22 w 22"/>
                  <a:gd name="T19" fmla="*/ 4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41">
                    <a:moveTo>
                      <a:pt x="22" y="40"/>
                    </a:moveTo>
                    <a:cubicBezTo>
                      <a:pt x="22" y="40"/>
                      <a:pt x="18" y="41"/>
                      <a:pt x="13" y="39"/>
                    </a:cubicBezTo>
                    <a:cubicBezTo>
                      <a:pt x="8" y="38"/>
                      <a:pt x="2" y="32"/>
                      <a:pt x="1" y="23"/>
                    </a:cubicBezTo>
                    <a:cubicBezTo>
                      <a:pt x="0" y="19"/>
                      <a:pt x="1" y="15"/>
                      <a:pt x="2" y="12"/>
                    </a:cubicBezTo>
                    <a:cubicBezTo>
                      <a:pt x="4" y="9"/>
                      <a:pt x="6" y="6"/>
                      <a:pt x="8" y="4"/>
                    </a:cubicBezTo>
                    <a:cubicBezTo>
                      <a:pt x="12" y="1"/>
                      <a:pt x="15" y="0"/>
                      <a:pt x="15" y="0"/>
                    </a:cubicBezTo>
                    <a:cubicBezTo>
                      <a:pt x="15" y="0"/>
                      <a:pt x="12" y="2"/>
                      <a:pt x="9" y="5"/>
                    </a:cubicBezTo>
                    <a:cubicBezTo>
                      <a:pt x="5" y="9"/>
                      <a:pt x="2" y="15"/>
                      <a:pt x="3" y="23"/>
                    </a:cubicBezTo>
                    <a:cubicBezTo>
                      <a:pt x="4" y="31"/>
                      <a:pt x="9" y="36"/>
                      <a:pt x="14" y="38"/>
                    </a:cubicBezTo>
                    <a:cubicBezTo>
                      <a:pt x="18" y="40"/>
                      <a:pt x="22" y="39"/>
                      <a:pt x="22" y="40"/>
                    </a:cubicBezTo>
                    <a:close/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173">
                <a:extLst>
                  <a:ext uri="{FF2B5EF4-FFF2-40B4-BE49-F238E27FC236}">
                    <a16:creationId xmlns:a16="http://schemas.microsoft.com/office/drawing/2014/main" id="{5AEAB335-9E95-40E6-8128-9B39074E57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8" y="2102"/>
                <a:ext cx="73" cy="65"/>
              </a:xfrm>
              <a:custGeom>
                <a:avLst/>
                <a:gdLst>
                  <a:gd name="T0" fmla="*/ 31 w 31"/>
                  <a:gd name="T1" fmla="*/ 27 h 27"/>
                  <a:gd name="T2" fmla="*/ 25 w 31"/>
                  <a:gd name="T3" fmla="*/ 26 h 27"/>
                  <a:gd name="T4" fmla="*/ 11 w 31"/>
                  <a:gd name="T5" fmla="*/ 19 h 27"/>
                  <a:gd name="T6" fmla="*/ 2 w 31"/>
                  <a:gd name="T7" fmla="*/ 6 h 27"/>
                  <a:gd name="T8" fmla="*/ 0 w 31"/>
                  <a:gd name="T9" fmla="*/ 0 h 27"/>
                  <a:gd name="T10" fmla="*/ 3 w 31"/>
                  <a:gd name="T11" fmla="*/ 5 h 27"/>
                  <a:gd name="T12" fmla="*/ 12 w 31"/>
                  <a:gd name="T13" fmla="*/ 17 h 27"/>
                  <a:gd name="T14" fmla="*/ 25 w 31"/>
                  <a:gd name="T15" fmla="*/ 25 h 27"/>
                  <a:gd name="T16" fmla="*/ 31 w 31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27">
                    <a:moveTo>
                      <a:pt x="31" y="27"/>
                    </a:moveTo>
                    <a:cubicBezTo>
                      <a:pt x="31" y="27"/>
                      <a:pt x="29" y="27"/>
                      <a:pt x="25" y="26"/>
                    </a:cubicBezTo>
                    <a:cubicBezTo>
                      <a:pt x="21" y="25"/>
                      <a:pt x="16" y="23"/>
                      <a:pt x="11" y="19"/>
                    </a:cubicBezTo>
                    <a:cubicBezTo>
                      <a:pt x="6" y="15"/>
                      <a:pt x="3" y="10"/>
                      <a:pt x="2" y="6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3" y="5"/>
                    </a:cubicBezTo>
                    <a:cubicBezTo>
                      <a:pt x="5" y="9"/>
                      <a:pt x="8" y="13"/>
                      <a:pt x="12" y="17"/>
                    </a:cubicBezTo>
                    <a:cubicBezTo>
                      <a:pt x="17" y="21"/>
                      <a:pt x="21" y="23"/>
                      <a:pt x="25" y="25"/>
                    </a:cubicBezTo>
                    <a:cubicBezTo>
                      <a:pt x="29" y="26"/>
                      <a:pt x="31" y="26"/>
                      <a:pt x="31" y="2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Freeform 174">
                <a:extLst>
                  <a:ext uri="{FF2B5EF4-FFF2-40B4-BE49-F238E27FC236}">
                    <a16:creationId xmlns:a16="http://schemas.microsoft.com/office/drawing/2014/main" id="{D8A03ED8-821F-49C4-931A-4D881F637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84"/>
                <a:ext cx="88" cy="237"/>
              </a:xfrm>
              <a:custGeom>
                <a:avLst/>
                <a:gdLst>
                  <a:gd name="T0" fmla="*/ 27 w 37"/>
                  <a:gd name="T1" fmla="*/ 100 h 100"/>
                  <a:gd name="T2" fmla="*/ 26 w 37"/>
                  <a:gd name="T3" fmla="*/ 100 h 100"/>
                  <a:gd name="T4" fmla="*/ 22 w 37"/>
                  <a:gd name="T5" fmla="*/ 98 h 100"/>
                  <a:gd name="T6" fmla="*/ 14 w 37"/>
                  <a:gd name="T7" fmla="*/ 86 h 100"/>
                  <a:gd name="T8" fmla="*/ 14 w 37"/>
                  <a:gd name="T9" fmla="*/ 76 h 100"/>
                  <a:gd name="T10" fmla="*/ 17 w 37"/>
                  <a:gd name="T11" fmla="*/ 64 h 100"/>
                  <a:gd name="T12" fmla="*/ 31 w 37"/>
                  <a:gd name="T13" fmla="*/ 42 h 100"/>
                  <a:gd name="T14" fmla="*/ 35 w 37"/>
                  <a:gd name="T15" fmla="*/ 29 h 100"/>
                  <a:gd name="T16" fmla="*/ 33 w 37"/>
                  <a:gd name="T17" fmla="*/ 17 h 100"/>
                  <a:gd name="T18" fmla="*/ 19 w 37"/>
                  <a:gd name="T19" fmla="*/ 3 h 100"/>
                  <a:gd name="T20" fmla="*/ 5 w 37"/>
                  <a:gd name="T21" fmla="*/ 2 h 100"/>
                  <a:gd name="T22" fmla="*/ 0 w 37"/>
                  <a:gd name="T23" fmla="*/ 3 h 100"/>
                  <a:gd name="T24" fmla="*/ 1 w 37"/>
                  <a:gd name="T25" fmla="*/ 3 h 100"/>
                  <a:gd name="T26" fmla="*/ 5 w 37"/>
                  <a:gd name="T27" fmla="*/ 1 h 100"/>
                  <a:gd name="T28" fmla="*/ 20 w 37"/>
                  <a:gd name="T29" fmla="*/ 2 h 100"/>
                  <a:gd name="T30" fmla="*/ 35 w 37"/>
                  <a:gd name="T31" fmla="*/ 16 h 100"/>
                  <a:gd name="T32" fmla="*/ 37 w 37"/>
                  <a:gd name="T33" fmla="*/ 29 h 100"/>
                  <a:gd name="T34" fmla="*/ 32 w 37"/>
                  <a:gd name="T35" fmla="*/ 43 h 100"/>
                  <a:gd name="T36" fmla="*/ 19 w 37"/>
                  <a:gd name="T37" fmla="*/ 65 h 100"/>
                  <a:gd name="T38" fmla="*/ 15 w 37"/>
                  <a:gd name="T39" fmla="*/ 86 h 100"/>
                  <a:gd name="T40" fmla="*/ 22 w 37"/>
                  <a:gd name="T41" fmla="*/ 97 h 100"/>
                  <a:gd name="T42" fmla="*/ 27 w 37"/>
                  <a:gd name="T4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7" h="100">
                    <a:moveTo>
                      <a:pt x="27" y="100"/>
                    </a:moveTo>
                    <a:cubicBezTo>
                      <a:pt x="27" y="100"/>
                      <a:pt x="26" y="100"/>
                      <a:pt x="26" y="100"/>
                    </a:cubicBezTo>
                    <a:cubicBezTo>
                      <a:pt x="25" y="100"/>
                      <a:pt x="23" y="99"/>
                      <a:pt x="22" y="98"/>
                    </a:cubicBezTo>
                    <a:cubicBezTo>
                      <a:pt x="19" y="96"/>
                      <a:pt x="15" y="92"/>
                      <a:pt x="14" y="86"/>
                    </a:cubicBezTo>
                    <a:cubicBezTo>
                      <a:pt x="13" y="83"/>
                      <a:pt x="13" y="79"/>
                      <a:pt x="14" y="76"/>
                    </a:cubicBezTo>
                    <a:cubicBezTo>
                      <a:pt x="14" y="72"/>
                      <a:pt x="15" y="68"/>
                      <a:pt x="17" y="64"/>
                    </a:cubicBezTo>
                    <a:cubicBezTo>
                      <a:pt x="21" y="57"/>
                      <a:pt x="26" y="50"/>
                      <a:pt x="31" y="42"/>
                    </a:cubicBezTo>
                    <a:cubicBezTo>
                      <a:pt x="33" y="38"/>
                      <a:pt x="34" y="33"/>
                      <a:pt x="35" y="29"/>
                    </a:cubicBezTo>
                    <a:cubicBezTo>
                      <a:pt x="35" y="25"/>
                      <a:pt x="35" y="21"/>
                      <a:pt x="33" y="17"/>
                    </a:cubicBezTo>
                    <a:cubicBezTo>
                      <a:pt x="31" y="10"/>
                      <a:pt x="25" y="5"/>
                      <a:pt x="19" y="3"/>
                    </a:cubicBezTo>
                    <a:cubicBezTo>
                      <a:pt x="13" y="1"/>
                      <a:pt x="8" y="1"/>
                      <a:pt x="5" y="2"/>
                    </a:cubicBezTo>
                    <a:cubicBezTo>
                      <a:pt x="2" y="3"/>
                      <a:pt x="0" y="4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2" y="2"/>
                      <a:pt x="3" y="2"/>
                      <a:pt x="5" y="1"/>
                    </a:cubicBezTo>
                    <a:cubicBezTo>
                      <a:pt x="8" y="0"/>
                      <a:pt x="13" y="0"/>
                      <a:pt x="20" y="2"/>
                    </a:cubicBezTo>
                    <a:cubicBezTo>
                      <a:pt x="26" y="3"/>
                      <a:pt x="32" y="9"/>
                      <a:pt x="35" y="16"/>
                    </a:cubicBezTo>
                    <a:cubicBezTo>
                      <a:pt x="37" y="20"/>
                      <a:pt x="37" y="25"/>
                      <a:pt x="37" y="29"/>
                    </a:cubicBezTo>
                    <a:cubicBezTo>
                      <a:pt x="36" y="34"/>
                      <a:pt x="35" y="38"/>
                      <a:pt x="32" y="43"/>
                    </a:cubicBezTo>
                    <a:cubicBezTo>
                      <a:pt x="28" y="51"/>
                      <a:pt x="23" y="58"/>
                      <a:pt x="19" y="65"/>
                    </a:cubicBezTo>
                    <a:cubicBezTo>
                      <a:pt x="15" y="72"/>
                      <a:pt x="14" y="80"/>
                      <a:pt x="15" y="86"/>
                    </a:cubicBezTo>
                    <a:cubicBezTo>
                      <a:pt x="17" y="91"/>
                      <a:pt x="20" y="95"/>
                      <a:pt x="22" y="97"/>
                    </a:cubicBezTo>
                    <a:cubicBezTo>
                      <a:pt x="25" y="99"/>
                      <a:pt x="27" y="100"/>
                      <a:pt x="27" y="10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Freeform 175">
                <a:extLst>
                  <a:ext uri="{FF2B5EF4-FFF2-40B4-BE49-F238E27FC236}">
                    <a16:creationId xmlns:a16="http://schemas.microsoft.com/office/drawing/2014/main" id="{81C81D31-C2DB-4B24-A9FA-2D51B7087F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6" y="1974"/>
                <a:ext cx="166" cy="297"/>
              </a:xfrm>
              <a:custGeom>
                <a:avLst/>
                <a:gdLst>
                  <a:gd name="T0" fmla="*/ 70 w 70"/>
                  <a:gd name="T1" fmla="*/ 125 h 125"/>
                  <a:gd name="T2" fmla="*/ 68 w 70"/>
                  <a:gd name="T3" fmla="*/ 125 h 125"/>
                  <a:gd name="T4" fmla="*/ 63 w 70"/>
                  <a:gd name="T5" fmla="*/ 124 h 125"/>
                  <a:gd name="T6" fmla="*/ 48 w 70"/>
                  <a:gd name="T7" fmla="*/ 112 h 125"/>
                  <a:gd name="T8" fmla="*/ 42 w 70"/>
                  <a:gd name="T9" fmla="*/ 85 h 125"/>
                  <a:gd name="T10" fmla="*/ 47 w 70"/>
                  <a:gd name="T11" fmla="*/ 52 h 125"/>
                  <a:gd name="T12" fmla="*/ 48 w 70"/>
                  <a:gd name="T13" fmla="*/ 35 h 125"/>
                  <a:gd name="T14" fmla="*/ 45 w 70"/>
                  <a:gd name="T15" fmla="*/ 19 h 125"/>
                  <a:gd name="T16" fmla="*/ 36 w 70"/>
                  <a:gd name="T17" fmla="*/ 8 h 125"/>
                  <a:gd name="T18" fmla="*/ 25 w 70"/>
                  <a:gd name="T19" fmla="*/ 3 h 125"/>
                  <a:gd name="T20" fmla="*/ 7 w 70"/>
                  <a:gd name="T21" fmla="*/ 3 h 125"/>
                  <a:gd name="T22" fmla="*/ 0 w 70"/>
                  <a:gd name="T23" fmla="*/ 4 h 125"/>
                  <a:gd name="T24" fmla="*/ 2 w 70"/>
                  <a:gd name="T25" fmla="*/ 4 h 125"/>
                  <a:gd name="T26" fmla="*/ 7 w 70"/>
                  <a:gd name="T27" fmla="*/ 2 h 125"/>
                  <a:gd name="T28" fmla="*/ 25 w 70"/>
                  <a:gd name="T29" fmla="*/ 1 h 125"/>
                  <a:gd name="T30" fmla="*/ 37 w 70"/>
                  <a:gd name="T31" fmla="*/ 7 h 125"/>
                  <a:gd name="T32" fmla="*/ 47 w 70"/>
                  <a:gd name="T33" fmla="*/ 18 h 125"/>
                  <a:gd name="T34" fmla="*/ 50 w 70"/>
                  <a:gd name="T35" fmla="*/ 35 h 125"/>
                  <a:gd name="T36" fmla="*/ 49 w 70"/>
                  <a:gd name="T37" fmla="*/ 52 h 125"/>
                  <a:gd name="T38" fmla="*/ 44 w 70"/>
                  <a:gd name="T39" fmla="*/ 86 h 125"/>
                  <a:gd name="T40" fmla="*/ 49 w 70"/>
                  <a:gd name="T41" fmla="*/ 112 h 125"/>
                  <a:gd name="T42" fmla="*/ 63 w 70"/>
                  <a:gd name="T43" fmla="*/ 123 h 125"/>
                  <a:gd name="T44" fmla="*/ 70 w 70"/>
                  <a:gd name="T45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0" h="125">
                    <a:moveTo>
                      <a:pt x="70" y="125"/>
                    </a:moveTo>
                    <a:cubicBezTo>
                      <a:pt x="70" y="125"/>
                      <a:pt x="69" y="125"/>
                      <a:pt x="68" y="125"/>
                    </a:cubicBezTo>
                    <a:cubicBezTo>
                      <a:pt x="67" y="125"/>
                      <a:pt x="65" y="125"/>
                      <a:pt x="63" y="124"/>
                    </a:cubicBezTo>
                    <a:cubicBezTo>
                      <a:pt x="59" y="123"/>
                      <a:pt x="53" y="119"/>
                      <a:pt x="48" y="112"/>
                    </a:cubicBezTo>
                    <a:cubicBezTo>
                      <a:pt x="43" y="106"/>
                      <a:pt x="41" y="96"/>
                      <a:pt x="42" y="85"/>
                    </a:cubicBezTo>
                    <a:cubicBezTo>
                      <a:pt x="42" y="75"/>
                      <a:pt x="45" y="64"/>
                      <a:pt x="47" y="52"/>
                    </a:cubicBezTo>
                    <a:cubicBezTo>
                      <a:pt x="48" y="46"/>
                      <a:pt x="49" y="40"/>
                      <a:pt x="48" y="35"/>
                    </a:cubicBezTo>
                    <a:cubicBezTo>
                      <a:pt x="48" y="29"/>
                      <a:pt x="47" y="24"/>
                      <a:pt x="45" y="19"/>
                    </a:cubicBezTo>
                    <a:cubicBezTo>
                      <a:pt x="43" y="15"/>
                      <a:pt x="40" y="11"/>
                      <a:pt x="36" y="8"/>
                    </a:cubicBezTo>
                    <a:cubicBezTo>
                      <a:pt x="33" y="5"/>
                      <a:pt x="29" y="4"/>
                      <a:pt x="25" y="3"/>
                    </a:cubicBezTo>
                    <a:cubicBezTo>
                      <a:pt x="17" y="1"/>
                      <a:pt x="11" y="2"/>
                      <a:pt x="7" y="3"/>
                    </a:cubicBezTo>
                    <a:cubicBezTo>
                      <a:pt x="2" y="4"/>
                      <a:pt x="0" y="5"/>
                      <a:pt x="0" y="4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3" y="3"/>
                      <a:pt x="4" y="3"/>
                      <a:pt x="7" y="2"/>
                    </a:cubicBezTo>
                    <a:cubicBezTo>
                      <a:pt x="11" y="1"/>
                      <a:pt x="17" y="0"/>
                      <a:pt x="25" y="1"/>
                    </a:cubicBezTo>
                    <a:cubicBezTo>
                      <a:pt x="29" y="2"/>
                      <a:pt x="33" y="4"/>
                      <a:pt x="37" y="7"/>
                    </a:cubicBezTo>
                    <a:cubicBezTo>
                      <a:pt x="41" y="9"/>
                      <a:pt x="44" y="14"/>
                      <a:pt x="47" y="18"/>
                    </a:cubicBezTo>
                    <a:cubicBezTo>
                      <a:pt x="49" y="23"/>
                      <a:pt x="50" y="29"/>
                      <a:pt x="50" y="35"/>
                    </a:cubicBezTo>
                    <a:cubicBezTo>
                      <a:pt x="51" y="40"/>
                      <a:pt x="50" y="46"/>
                      <a:pt x="49" y="52"/>
                    </a:cubicBezTo>
                    <a:cubicBezTo>
                      <a:pt x="47" y="64"/>
                      <a:pt x="44" y="75"/>
                      <a:pt x="44" y="86"/>
                    </a:cubicBezTo>
                    <a:cubicBezTo>
                      <a:pt x="43" y="96"/>
                      <a:pt x="45" y="105"/>
                      <a:pt x="49" y="112"/>
                    </a:cubicBezTo>
                    <a:cubicBezTo>
                      <a:pt x="54" y="118"/>
                      <a:pt x="59" y="122"/>
                      <a:pt x="63" y="123"/>
                    </a:cubicBezTo>
                    <a:cubicBezTo>
                      <a:pt x="67" y="125"/>
                      <a:pt x="70" y="124"/>
                      <a:pt x="70" y="125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Freeform 176">
                <a:extLst>
                  <a:ext uri="{FF2B5EF4-FFF2-40B4-BE49-F238E27FC236}">
                    <a16:creationId xmlns:a16="http://schemas.microsoft.com/office/drawing/2014/main" id="{F1804C19-B3BA-42EC-806D-153CF3F3B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9" y="2575"/>
                <a:ext cx="232" cy="211"/>
              </a:xfrm>
              <a:custGeom>
                <a:avLst/>
                <a:gdLst>
                  <a:gd name="T0" fmla="*/ 142 w 232"/>
                  <a:gd name="T1" fmla="*/ 0 h 211"/>
                  <a:gd name="T2" fmla="*/ 0 w 232"/>
                  <a:gd name="T3" fmla="*/ 112 h 211"/>
                  <a:gd name="T4" fmla="*/ 59 w 232"/>
                  <a:gd name="T5" fmla="*/ 211 h 211"/>
                  <a:gd name="T6" fmla="*/ 232 w 232"/>
                  <a:gd name="T7" fmla="*/ 83 h 211"/>
                  <a:gd name="T8" fmla="*/ 142 w 232"/>
                  <a:gd name="T9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211">
                    <a:moveTo>
                      <a:pt x="142" y="0"/>
                    </a:moveTo>
                    <a:lnTo>
                      <a:pt x="0" y="112"/>
                    </a:lnTo>
                    <a:lnTo>
                      <a:pt x="59" y="211"/>
                    </a:lnTo>
                    <a:lnTo>
                      <a:pt x="232" y="83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Freeform 177">
                <a:extLst>
                  <a:ext uri="{FF2B5EF4-FFF2-40B4-BE49-F238E27FC236}">
                    <a16:creationId xmlns:a16="http://schemas.microsoft.com/office/drawing/2014/main" id="{E95F7227-3F33-4239-A520-5AF2078E4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1" y="2105"/>
                <a:ext cx="358" cy="579"/>
              </a:xfrm>
              <a:custGeom>
                <a:avLst/>
                <a:gdLst>
                  <a:gd name="T0" fmla="*/ 151 w 151"/>
                  <a:gd name="T1" fmla="*/ 41 h 244"/>
                  <a:gd name="T2" fmla="*/ 138 w 151"/>
                  <a:gd name="T3" fmla="*/ 35 h 244"/>
                  <a:gd name="T4" fmla="*/ 124 w 151"/>
                  <a:gd name="T5" fmla="*/ 34 h 244"/>
                  <a:gd name="T6" fmla="*/ 117 w 151"/>
                  <a:gd name="T7" fmla="*/ 22 h 244"/>
                  <a:gd name="T8" fmla="*/ 120 w 151"/>
                  <a:gd name="T9" fmla="*/ 10 h 244"/>
                  <a:gd name="T10" fmla="*/ 133 w 151"/>
                  <a:gd name="T11" fmla="*/ 9 h 244"/>
                  <a:gd name="T12" fmla="*/ 130 w 151"/>
                  <a:gd name="T13" fmla="*/ 0 h 244"/>
                  <a:gd name="T14" fmla="*/ 120 w 151"/>
                  <a:gd name="T15" fmla="*/ 0 h 244"/>
                  <a:gd name="T16" fmla="*/ 94 w 151"/>
                  <a:gd name="T17" fmla="*/ 3 h 244"/>
                  <a:gd name="T18" fmla="*/ 83 w 151"/>
                  <a:gd name="T19" fmla="*/ 50 h 244"/>
                  <a:gd name="T20" fmla="*/ 11 w 151"/>
                  <a:gd name="T21" fmla="*/ 185 h 244"/>
                  <a:gd name="T22" fmla="*/ 25 w 151"/>
                  <a:gd name="T23" fmla="*/ 235 h 244"/>
                  <a:gd name="T24" fmla="*/ 76 w 151"/>
                  <a:gd name="T25" fmla="*/ 206 h 244"/>
                  <a:gd name="T26" fmla="*/ 116 w 151"/>
                  <a:gd name="T27" fmla="*/ 56 h 244"/>
                  <a:gd name="T28" fmla="*/ 130 w 151"/>
                  <a:gd name="T29" fmla="*/ 45 h 244"/>
                  <a:gd name="T30" fmla="*/ 150 w 151"/>
                  <a:gd name="T31" fmla="*/ 41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1" h="244">
                    <a:moveTo>
                      <a:pt x="151" y="41"/>
                    </a:moveTo>
                    <a:cubicBezTo>
                      <a:pt x="151" y="41"/>
                      <a:pt x="151" y="36"/>
                      <a:pt x="138" y="35"/>
                    </a:cubicBezTo>
                    <a:cubicBezTo>
                      <a:pt x="125" y="34"/>
                      <a:pt x="124" y="34"/>
                      <a:pt x="124" y="34"/>
                    </a:cubicBezTo>
                    <a:cubicBezTo>
                      <a:pt x="124" y="34"/>
                      <a:pt x="118" y="27"/>
                      <a:pt x="117" y="22"/>
                    </a:cubicBezTo>
                    <a:cubicBezTo>
                      <a:pt x="117" y="18"/>
                      <a:pt x="120" y="10"/>
                      <a:pt x="120" y="10"/>
                    </a:cubicBezTo>
                    <a:cubicBezTo>
                      <a:pt x="133" y="9"/>
                      <a:pt x="133" y="9"/>
                      <a:pt x="133" y="9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11" y="185"/>
                      <a:pt x="11" y="185"/>
                      <a:pt x="11" y="185"/>
                    </a:cubicBezTo>
                    <a:cubicBezTo>
                      <a:pt x="0" y="202"/>
                      <a:pt x="6" y="226"/>
                      <a:pt x="25" y="235"/>
                    </a:cubicBezTo>
                    <a:cubicBezTo>
                      <a:pt x="44" y="244"/>
                      <a:pt x="69" y="225"/>
                      <a:pt x="76" y="206"/>
                    </a:cubicBezTo>
                    <a:cubicBezTo>
                      <a:pt x="116" y="56"/>
                      <a:pt x="116" y="56"/>
                      <a:pt x="116" y="56"/>
                    </a:cubicBezTo>
                    <a:cubicBezTo>
                      <a:pt x="130" y="45"/>
                      <a:pt x="130" y="45"/>
                      <a:pt x="130" y="45"/>
                    </a:cubicBezTo>
                    <a:cubicBezTo>
                      <a:pt x="150" y="41"/>
                      <a:pt x="150" y="41"/>
                      <a:pt x="150" y="41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178">
                <a:extLst>
                  <a:ext uri="{FF2B5EF4-FFF2-40B4-BE49-F238E27FC236}">
                    <a16:creationId xmlns:a16="http://schemas.microsoft.com/office/drawing/2014/main" id="{CF0D643F-CD17-4AA6-8023-1475EE514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" y="2775"/>
                <a:ext cx="731" cy="1562"/>
              </a:xfrm>
              <a:custGeom>
                <a:avLst/>
                <a:gdLst>
                  <a:gd name="T0" fmla="*/ 0 w 308"/>
                  <a:gd name="T1" fmla="*/ 656 h 658"/>
                  <a:gd name="T2" fmla="*/ 99 w 308"/>
                  <a:gd name="T3" fmla="*/ 90 h 658"/>
                  <a:gd name="T4" fmla="*/ 99 w 308"/>
                  <a:gd name="T5" fmla="*/ 90 h 658"/>
                  <a:gd name="T6" fmla="*/ 99 w 308"/>
                  <a:gd name="T7" fmla="*/ 88 h 658"/>
                  <a:gd name="T8" fmla="*/ 99 w 308"/>
                  <a:gd name="T9" fmla="*/ 88 h 658"/>
                  <a:gd name="T10" fmla="*/ 99 w 308"/>
                  <a:gd name="T11" fmla="*/ 88 h 658"/>
                  <a:gd name="T12" fmla="*/ 142 w 308"/>
                  <a:gd name="T13" fmla="*/ 0 h 658"/>
                  <a:gd name="T14" fmla="*/ 292 w 308"/>
                  <a:gd name="T15" fmla="*/ 9 h 658"/>
                  <a:gd name="T16" fmla="*/ 307 w 308"/>
                  <a:gd name="T17" fmla="*/ 88 h 658"/>
                  <a:gd name="T18" fmla="*/ 275 w 308"/>
                  <a:gd name="T19" fmla="*/ 642 h 658"/>
                  <a:gd name="T20" fmla="*/ 225 w 308"/>
                  <a:gd name="T21" fmla="*/ 641 h 658"/>
                  <a:gd name="T22" fmla="*/ 197 w 308"/>
                  <a:gd name="T23" fmla="*/ 122 h 658"/>
                  <a:gd name="T24" fmla="*/ 51 w 308"/>
                  <a:gd name="T25" fmla="*/ 658 h 658"/>
                  <a:gd name="T26" fmla="*/ 0 w 308"/>
                  <a:gd name="T27" fmla="*/ 656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8" h="658">
                    <a:moveTo>
                      <a:pt x="0" y="656"/>
                    </a:move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90"/>
                      <a:pt x="99" y="90"/>
                      <a:pt x="99" y="90"/>
                    </a:cubicBezTo>
                    <a:cubicBezTo>
                      <a:pt x="99" y="89"/>
                      <a:pt x="99" y="89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99" y="88"/>
                      <a:pt x="99" y="88"/>
                      <a:pt x="99" y="88"/>
                    </a:cubicBezTo>
                    <a:cubicBezTo>
                      <a:pt x="116" y="21"/>
                      <a:pt x="142" y="0"/>
                      <a:pt x="142" y="0"/>
                    </a:cubicBezTo>
                    <a:cubicBezTo>
                      <a:pt x="292" y="9"/>
                      <a:pt x="292" y="9"/>
                      <a:pt x="292" y="9"/>
                    </a:cubicBezTo>
                    <a:cubicBezTo>
                      <a:pt x="305" y="32"/>
                      <a:pt x="307" y="88"/>
                      <a:pt x="307" y="88"/>
                    </a:cubicBezTo>
                    <a:cubicBezTo>
                      <a:pt x="308" y="94"/>
                      <a:pt x="275" y="642"/>
                      <a:pt x="275" y="642"/>
                    </a:cubicBezTo>
                    <a:cubicBezTo>
                      <a:pt x="225" y="641"/>
                      <a:pt x="225" y="641"/>
                      <a:pt x="225" y="641"/>
                    </a:cubicBezTo>
                    <a:cubicBezTo>
                      <a:pt x="197" y="122"/>
                      <a:pt x="197" y="122"/>
                      <a:pt x="197" y="122"/>
                    </a:cubicBezTo>
                    <a:cubicBezTo>
                      <a:pt x="51" y="658"/>
                      <a:pt x="51" y="658"/>
                      <a:pt x="51" y="658"/>
                    </a:cubicBezTo>
                    <a:cubicBezTo>
                      <a:pt x="0" y="656"/>
                      <a:pt x="0" y="656"/>
                      <a:pt x="0" y="656"/>
                    </a:cubicBezTo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Freeform 179">
                <a:extLst>
                  <a:ext uri="{FF2B5EF4-FFF2-40B4-BE49-F238E27FC236}">
                    <a16:creationId xmlns:a16="http://schemas.microsoft.com/office/drawing/2014/main" id="{342E8137-7413-433B-BEA0-EA3D4A710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1" y="4333"/>
                <a:ext cx="227" cy="45"/>
              </a:xfrm>
              <a:custGeom>
                <a:avLst/>
                <a:gdLst>
                  <a:gd name="T0" fmla="*/ 44 w 96"/>
                  <a:gd name="T1" fmla="*/ 5 h 19"/>
                  <a:gd name="T2" fmla="*/ 44 w 96"/>
                  <a:gd name="T3" fmla="*/ 0 h 19"/>
                  <a:gd name="T4" fmla="*/ 96 w 96"/>
                  <a:gd name="T5" fmla="*/ 1 h 19"/>
                  <a:gd name="T6" fmla="*/ 96 w 96"/>
                  <a:gd name="T7" fmla="*/ 18 h 19"/>
                  <a:gd name="T8" fmla="*/ 93 w 96"/>
                  <a:gd name="T9" fmla="*/ 18 h 19"/>
                  <a:gd name="T10" fmla="*/ 11 w 96"/>
                  <a:gd name="T11" fmla="*/ 16 h 19"/>
                  <a:gd name="T12" fmla="*/ 44 w 96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9">
                    <a:moveTo>
                      <a:pt x="44" y="5"/>
                    </a:moveTo>
                    <a:cubicBezTo>
                      <a:pt x="44" y="0"/>
                      <a:pt x="44" y="0"/>
                      <a:pt x="44" y="0"/>
                    </a:cubicBezTo>
                    <a:cubicBezTo>
                      <a:pt x="96" y="1"/>
                      <a:pt x="96" y="1"/>
                      <a:pt x="96" y="1"/>
                    </a:cubicBezTo>
                    <a:cubicBezTo>
                      <a:pt x="96" y="18"/>
                      <a:pt x="96" y="18"/>
                      <a:pt x="96" y="18"/>
                    </a:cubicBezTo>
                    <a:cubicBezTo>
                      <a:pt x="93" y="18"/>
                      <a:pt x="93" y="18"/>
                      <a:pt x="93" y="18"/>
                    </a:cubicBezTo>
                    <a:cubicBezTo>
                      <a:pt x="78" y="19"/>
                      <a:pt x="20" y="19"/>
                      <a:pt x="11" y="16"/>
                    </a:cubicBezTo>
                    <a:cubicBezTo>
                      <a:pt x="0" y="13"/>
                      <a:pt x="44" y="5"/>
                      <a:pt x="44" y="5"/>
                    </a:cubicBezTo>
                  </a:path>
                </a:pathLst>
              </a:custGeom>
              <a:solidFill>
                <a:srgbClr val="E85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Freeform 180">
                <a:extLst>
                  <a:ext uri="{FF2B5EF4-FFF2-40B4-BE49-F238E27FC236}">
                    <a16:creationId xmlns:a16="http://schemas.microsoft.com/office/drawing/2014/main" id="{FCFE08E3-24E0-4507-92D7-9FDA8F87E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7 w 19"/>
                  <a:gd name="T1" fmla="*/ 0 h 13"/>
                  <a:gd name="T2" fmla="*/ 7 w 19"/>
                  <a:gd name="T3" fmla="*/ 3 h 13"/>
                  <a:gd name="T4" fmla="*/ 0 w 19"/>
                  <a:gd name="T5" fmla="*/ 13 h 13"/>
                  <a:gd name="T6" fmla="*/ 19 w 19"/>
                  <a:gd name="T7" fmla="*/ 13 h 13"/>
                  <a:gd name="T8" fmla="*/ 19 w 19"/>
                  <a:gd name="T9" fmla="*/ 13 h 13"/>
                  <a:gd name="T10" fmla="*/ 19 w 19"/>
                  <a:gd name="T11" fmla="*/ 13 h 13"/>
                  <a:gd name="T12" fmla="*/ 19 w 19"/>
                  <a:gd name="T13" fmla="*/ 0 h 13"/>
                  <a:gd name="T14" fmla="*/ 17 w 1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17" y="0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1" y="9"/>
                      <a:pt x="0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7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Freeform 181">
                <a:extLst>
                  <a:ext uri="{FF2B5EF4-FFF2-40B4-BE49-F238E27FC236}">
                    <a16:creationId xmlns:a16="http://schemas.microsoft.com/office/drawing/2014/main" id="{7B872A48-6EEF-4EC2-B860-329EED88AA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4356"/>
                <a:ext cx="206" cy="19"/>
              </a:xfrm>
              <a:custGeom>
                <a:avLst/>
                <a:gdLst>
                  <a:gd name="T0" fmla="*/ 37 w 87"/>
                  <a:gd name="T1" fmla="*/ 8 h 8"/>
                  <a:gd name="T2" fmla="*/ 39 w 87"/>
                  <a:gd name="T3" fmla="*/ 8 h 8"/>
                  <a:gd name="T4" fmla="*/ 40 w 87"/>
                  <a:gd name="T5" fmla="*/ 8 h 8"/>
                  <a:gd name="T6" fmla="*/ 37 w 87"/>
                  <a:gd name="T7" fmla="*/ 8 h 8"/>
                  <a:gd name="T8" fmla="*/ 87 w 87"/>
                  <a:gd name="T9" fmla="*/ 8 h 8"/>
                  <a:gd name="T10" fmla="*/ 84 w 87"/>
                  <a:gd name="T11" fmla="*/ 8 h 8"/>
                  <a:gd name="T12" fmla="*/ 71 w 87"/>
                  <a:gd name="T13" fmla="*/ 8 h 8"/>
                  <a:gd name="T14" fmla="*/ 79 w 87"/>
                  <a:gd name="T15" fmla="*/ 8 h 8"/>
                  <a:gd name="T16" fmla="*/ 87 w 87"/>
                  <a:gd name="T17" fmla="*/ 8 h 8"/>
                  <a:gd name="T18" fmla="*/ 0 w 87"/>
                  <a:gd name="T19" fmla="*/ 5 h 8"/>
                  <a:gd name="T20" fmla="*/ 0 w 87"/>
                  <a:gd name="T21" fmla="*/ 6 h 8"/>
                  <a:gd name="T22" fmla="*/ 2 w 87"/>
                  <a:gd name="T23" fmla="*/ 6 h 8"/>
                  <a:gd name="T24" fmla="*/ 2 w 87"/>
                  <a:gd name="T25" fmla="*/ 6 h 8"/>
                  <a:gd name="T26" fmla="*/ 0 w 87"/>
                  <a:gd name="T27" fmla="*/ 5 h 8"/>
                  <a:gd name="T28" fmla="*/ 14 w 87"/>
                  <a:gd name="T29" fmla="*/ 0 h 8"/>
                  <a:gd name="T30" fmla="*/ 10 w 87"/>
                  <a:gd name="T31" fmla="*/ 1 h 8"/>
                  <a:gd name="T32" fmla="*/ 14 w 87"/>
                  <a:gd name="T33" fmla="*/ 0 h 8"/>
                  <a:gd name="T34" fmla="*/ 14 w 87"/>
                  <a:gd name="T3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8">
                    <a:moveTo>
                      <a:pt x="37" y="8"/>
                    </a:moveTo>
                    <a:cubicBezTo>
                      <a:pt x="38" y="8"/>
                      <a:pt x="38" y="8"/>
                      <a:pt x="39" y="8"/>
                    </a:cubicBezTo>
                    <a:cubicBezTo>
                      <a:pt x="39" y="8"/>
                      <a:pt x="39" y="8"/>
                      <a:pt x="40" y="8"/>
                    </a:cubicBezTo>
                    <a:cubicBezTo>
                      <a:pt x="39" y="8"/>
                      <a:pt x="38" y="8"/>
                      <a:pt x="37" y="8"/>
                    </a:cubicBezTo>
                    <a:moveTo>
                      <a:pt x="87" y="8"/>
                    </a:moveTo>
                    <a:cubicBezTo>
                      <a:pt x="84" y="8"/>
                      <a:pt x="84" y="8"/>
                      <a:pt x="84" y="8"/>
                    </a:cubicBezTo>
                    <a:cubicBezTo>
                      <a:pt x="81" y="8"/>
                      <a:pt x="76" y="8"/>
                      <a:pt x="71" y="8"/>
                    </a:cubicBezTo>
                    <a:cubicBezTo>
                      <a:pt x="74" y="8"/>
                      <a:pt x="77" y="8"/>
                      <a:pt x="79" y="8"/>
                    </a:cubicBezTo>
                    <a:cubicBezTo>
                      <a:pt x="82" y="8"/>
                      <a:pt x="85" y="8"/>
                      <a:pt x="87" y="8"/>
                    </a:cubicBezTo>
                    <a:moveTo>
                      <a:pt x="0" y="5"/>
                    </a:moveTo>
                    <a:cubicBezTo>
                      <a:pt x="0" y="5"/>
                      <a:pt x="0" y="5"/>
                      <a:pt x="0" y="6"/>
                    </a:cubicBezTo>
                    <a:cubicBezTo>
                      <a:pt x="0" y="6"/>
                      <a:pt x="1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6"/>
                      <a:pt x="0" y="5"/>
                      <a:pt x="0" y="5"/>
                    </a:cubicBezTo>
                    <a:moveTo>
                      <a:pt x="14" y="0"/>
                    </a:moveTo>
                    <a:cubicBezTo>
                      <a:pt x="14" y="0"/>
                      <a:pt x="12" y="0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Freeform 182">
                <a:extLst>
                  <a:ext uri="{FF2B5EF4-FFF2-40B4-BE49-F238E27FC236}">
                    <a16:creationId xmlns:a16="http://schemas.microsoft.com/office/drawing/2014/main" id="{52FC012D-91DA-4E23-8DDD-00213CF9E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4" y="4375"/>
                <a:ext cx="95" cy="3"/>
              </a:xfrm>
              <a:custGeom>
                <a:avLst/>
                <a:gdLst>
                  <a:gd name="T0" fmla="*/ 0 w 40"/>
                  <a:gd name="T1" fmla="*/ 0 h 1"/>
                  <a:gd name="T2" fmla="*/ 22 w 40"/>
                  <a:gd name="T3" fmla="*/ 1 h 1"/>
                  <a:gd name="T4" fmla="*/ 40 w 40"/>
                  <a:gd name="T5" fmla="*/ 0 h 1"/>
                  <a:gd name="T6" fmla="*/ 32 w 40"/>
                  <a:gd name="T7" fmla="*/ 0 h 1"/>
                  <a:gd name="T8" fmla="*/ 17 w 40"/>
                  <a:gd name="T9" fmla="*/ 1 h 1"/>
                  <a:gd name="T10" fmla="*/ 1 w 40"/>
                  <a:gd name="T11" fmla="*/ 0 h 1"/>
                  <a:gd name="T12" fmla="*/ 0 w 40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">
                    <a:moveTo>
                      <a:pt x="0" y="0"/>
                    </a:moveTo>
                    <a:cubicBezTo>
                      <a:pt x="7" y="1"/>
                      <a:pt x="15" y="1"/>
                      <a:pt x="22" y="1"/>
                    </a:cubicBezTo>
                    <a:cubicBezTo>
                      <a:pt x="28" y="1"/>
                      <a:pt x="35" y="1"/>
                      <a:pt x="40" y="0"/>
                    </a:cubicBezTo>
                    <a:cubicBezTo>
                      <a:pt x="38" y="0"/>
                      <a:pt x="35" y="0"/>
                      <a:pt x="32" y="0"/>
                    </a:cubicBezTo>
                    <a:cubicBezTo>
                      <a:pt x="27" y="0"/>
                      <a:pt x="22" y="1"/>
                      <a:pt x="17" y="1"/>
                    </a:cubicBezTo>
                    <a:cubicBezTo>
                      <a:pt x="11" y="1"/>
                      <a:pt x="6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8AD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183">
                <a:extLst>
                  <a:ext uri="{FF2B5EF4-FFF2-40B4-BE49-F238E27FC236}">
                    <a16:creationId xmlns:a16="http://schemas.microsoft.com/office/drawing/2014/main" id="{FFB12DA0-ACE8-4C20-8407-C5B0BB1DB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56"/>
                <a:ext cx="206" cy="22"/>
              </a:xfrm>
              <a:custGeom>
                <a:avLst/>
                <a:gdLst>
                  <a:gd name="T0" fmla="*/ 14 w 87"/>
                  <a:gd name="T1" fmla="*/ 0 h 9"/>
                  <a:gd name="T2" fmla="*/ 10 w 87"/>
                  <a:gd name="T3" fmla="*/ 1 h 9"/>
                  <a:gd name="T4" fmla="*/ 0 w 87"/>
                  <a:gd name="T5" fmla="*/ 5 h 9"/>
                  <a:gd name="T6" fmla="*/ 2 w 87"/>
                  <a:gd name="T7" fmla="*/ 6 h 9"/>
                  <a:gd name="T8" fmla="*/ 2 w 87"/>
                  <a:gd name="T9" fmla="*/ 6 h 9"/>
                  <a:gd name="T10" fmla="*/ 37 w 87"/>
                  <a:gd name="T11" fmla="*/ 8 h 9"/>
                  <a:gd name="T12" fmla="*/ 40 w 87"/>
                  <a:gd name="T13" fmla="*/ 8 h 9"/>
                  <a:gd name="T14" fmla="*/ 56 w 87"/>
                  <a:gd name="T15" fmla="*/ 9 h 9"/>
                  <a:gd name="T16" fmla="*/ 71 w 87"/>
                  <a:gd name="T17" fmla="*/ 8 h 9"/>
                  <a:gd name="T18" fmla="*/ 84 w 87"/>
                  <a:gd name="T19" fmla="*/ 8 h 9"/>
                  <a:gd name="T20" fmla="*/ 87 w 87"/>
                  <a:gd name="T21" fmla="*/ 8 h 9"/>
                  <a:gd name="T22" fmla="*/ 87 w 87"/>
                  <a:gd name="T23" fmla="*/ 8 h 9"/>
                  <a:gd name="T24" fmla="*/ 87 w 87"/>
                  <a:gd name="T25" fmla="*/ 7 h 9"/>
                  <a:gd name="T26" fmla="*/ 68 w 87"/>
                  <a:gd name="T27" fmla="*/ 7 h 9"/>
                  <a:gd name="T28" fmla="*/ 68 w 87"/>
                  <a:gd name="T29" fmla="*/ 7 h 9"/>
                  <a:gd name="T30" fmla="*/ 18 w 87"/>
                  <a:gd name="T31" fmla="*/ 6 h 9"/>
                  <a:gd name="T32" fmla="*/ 14 w 87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" h="9">
                    <a:moveTo>
                      <a:pt x="14" y="0"/>
                    </a:moveTo>
                    <a:cubicBezTo>
                      <a:pt x="12" y="0"/>
                      <a:pt x="11" y="0"/>
                      <a:pt x="10" y="1"/>
                    </a:cubicBezTo>
                    <a:cubicBezTo>
                      <a:pt x="6" y="2"/>
                      <a:pt x="1" y="3"/>
                      <a:pt x="0" y="5"/>
                    </a:cubicBezTo>
                    <a:cubicBezTo>
                      <a:pt x="0" y="5"/>
                      <a:pt x="0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7" y="7"/>
                      <a:pt x="21" y="8"/>
                      <a:pt x="37" y="8"/>
                    </a:cubicBezTo>
                    <a:cubicBezTo>
                      <a:pt x="38" y="8"/>
                      <a:pt x="39" y="8"/>
                      <a:pt x="40" y="8"/>
                    </a:cubicBezTo>
                    <a:cubicBezTo>
                      <a:pt x="45" y="8"/>
                      <a:pt x="50" y="9"/>
                      <a:pt x="56" y="9"/>
                    </a:cubicBezTo>
                    <a:cubicBezTo>
                      <a:pt x="61" y="9"/>
                      <a:pt x="66" y="8"/>
                      <a:pt x="71" y="8"/>
                    </a:cubicBezTo>
                    <a:cubicBezTo>
                      <a:pt x="76" y="8"/>
                      <a:pt x="81" y="8"/>
                      <a:pt x="84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7"/>
                      <a:pt x="87" y="7"/>
                      <a:pt x="87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7" y="0"/>
                      <a:pt x="14" y="0"/>
                    </a:cubicBezTo>
                  </a:path>
                </a:pathLst>
              </a:custGeom>
              <a:solidFill>
                <a:srgbClr val="F6B9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Freeform 184">
                <a:extLst>
                  <a:ext uri="{FF2B5EF4-FFF2-40B4-BE49-F238E27FC236}">
                    <a16:creationId xmlns:a16="http://schemas.microsoft.com/office/drawing/2014/main" id="{1FA5CEA1-9ABC-4635-9543-451D346F8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73"/>
                <a:ext cx="45" cy="0"/>
              </a:xfrm>
              <a:custGeom>
                <a:avLst/>
                <a:gdLst>
                  <a:gd name="T0" fmla="*/ 0 w 19"/>
                  <a:gd name="T1" fmla="*/ 0 w 19"/>
                  <a:gd name="T2" fmla="*/ 19 w 19"/>
                  <a:gd name="T3" fmla="*/ 19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BE3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Freeform 185">
                <a:extLst>
                  <a:ext uri="{FF2B5EF4-FFF2-40B4-BE49-F238E27FC236}">
                    <a16:creationId xmlns:a16="http://schemas.microsoft.com/office/drawing/2014/main" id="{3FB39C10-DDBF-4732-815E-E8AC020A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" y="4368"/>
                <a:ext cx="209" cy="5"/>
              </a:xfrm>
              <a:custGeom>
                <a:avLst/>
                <a:gdLst>
                  <a:gd name="T0" fmla="*/ 88 w 88"/>
                  <a:gd name="T1" fmla="*/ 2 h 2"/>
                  <a:gd name="T2" fmla="*/ 87 w 88"/>
                  <a:gd name="T3" fmla="*/ 2 h 2"/>
                  <a:gd name="T4" fmla="*/ 84 w 88"/>
                  <a:gd name="T5" fmla="*/ 2 h 2"/>
                  <a:gd name="T6" fmla="*/ 75 w 88"/>
                  <a:gd name="T7" fmla="*/ 2 h 2"/>
                  <a:gd name="T8" fmla="*/ 44 w 88"/>
                  <a:gd name="T9" fmla="*/ 2 h 2"/>
                  <a:gd name="T10" fmla="*/ 13 w 88"/>
                  <a:gd name="T11" fmla="*/ 1 h 2"/>
                  <a:gd name="T12" fmla="*/ 3 w 88"/>
                  <a:gd name="T13" fmla="*/ 0 h 2"/>
                  <a:gd name="T14" fmla="*/ 1 w 88"/>
                  <a:gd name="T15" fmla="*/ 0 h 2"/>
                  <a:gd name="T16" fmla="*/ 0 w 88"/>
                  <a:gd name="T17" fmla="*/ 0 h 2"/>
                  <a:gd name="T18" fmla="*/ 1 w 88"/>
                  <a:gd name="T19" fmla="*/ 0 h 2"/>
                  <a:gd name="T20" fmla="*/ 4 w 88"/>
                  <a:gd name="T21" fmla="*/ 0 h 2"/>
                  <a:gd name="T22" fmla="*/ 13 w 88"/>
                  <a:gd name="T23" fmla="*/ 0 h 2"/>
                  <a:gd name="T24" fmla="*/ 44 w 88"/>
                  <a:gd name="T25" fmla="*/ 1 h 2"/>
                  <a:gd name="T26" fmla="*/ 75 w 88"/>
                  <a:gd name="T27" fmla="*/ 2 h 2"/>
                  <a:gd name="T28" fmla="*/ 84 w 88"/>
                  <a:gd name="T29" fmla="*/ 2 h 2"/>
                  <a:gd name="T30" fmla="*/ 87 w 88"/>
                  <a:gd name="T31" fmla="*/ 2 h 2"/>
                  <a:gd name="T32" fmla="*/ 88 w 88"/>
                  <a:gd name="T3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8" h="2">
                    <a:moveTo>
                      <a:pt x="88" y="2"/>
                    </a:moveTo>
                    <a:cubicBezTo>
                      <a:pt x="88" y="2"/>
                      <a:pt x="87" y="2"/>
                      <a:pt x="87" y="2"/>
                    </a:cubicBezTo>
                    <a:cubicBezTo>
                      <a:pt x="86" y="2"/>
                      <a:pt x="85" y="2"/>
                      <a:pt x="84" y="2"/>
                    </a:cubicBezTo>
                    <a:cubicBezTo>
                      <a:pt x="82" y="2"/>
                      <a:pt x="78" y="2"/>
                      <a:pt x="75" y="2"/>
                    </a:cubicBezTo>
                    <a:cubicBezTo>
                      <a:pt x="67" y="2"/>
                      <a:pt x="56" y="2"/>
                      <a:pt x="44" y="2"/>
                    </a:cubicBezTo>
                    <a:cubicBezTo>
                      <a:pt x="32" y="2"/>
                      <a:pt x="21" y="1"/>
                      <a:pt x="13" y="1"/>
                    </a:cubicBezTo>
                    <a:cubicBezTo>
                      <a:pt x="9" y="1"/>
                      <a:pt x="6" y="0"/>
                      <a:pt x="3" y="0"/>
                    </a:cubicBezTo>
                    <a:cubicBezTo>
                      <a:pt x="3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6" y="0"/>
                      <a:pt x="9" y="0"/>
                      <a:pt x="13" y="0"/>
                    </a:cubicBezTo>
                    <a:cubicBezTo>
                      <a:pt x="21" y="1"/>
                      <a:pt x="32" y="1"/>
                      <a:pt x="44" y="1"/>
                    </a:cubicBezTo>
                    <a:cubicBezTo>
                      <a:pt x="56" y="2"/>
                      <a:pt x="67" y="2"/>
                      <a:pt x="75" y="2"/>
                    </a:cubicBezTo>
                    <a:cubicBezTo>
                      <a:pt x="78" y="2"/>
                      <a:pt x="82" y="2"/>
                      <a:pt x="84" y="2"/>
                    </a:cubicBezTo>
                    <a:cubicBezTo>
                      <a:pt x="85" y="2"/>
                      <a:pt x="86" y="2"/>
                      <a:pt x="87" y="2"/>
                    </a:cubicBezTo>
                    <a:cubicBezTo>
                      <a:pt x="87" y="2"/>
                      <a:pt x="88" y="2"/>
                      <a:pt x="88" y="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Freeform 186">
                <a:extLst>
                  <a:ext uri="{FF2B5EF4-FFF2-40B4-BE49-F238E27FC236}">
                    <a16:creationId xmlns:a16="http://schemas.microsoft.com/office/drawing/2014/main" id="{F06BFBD0-10AE-4650-BB15-906DD07E4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" y="4354"/>
                <a:ext cx="12" cy="19"/>
              </a:xfrm>
              <a:custGeom>
                <a:avLst/>
                <a:gdLst>
                  <a:gd name="T0" fmla="*/ 5 w 5"/>
                  <a:gd name="T1" fmla="*/ 8 h 8"/>
                  <a:gd name="T2" fmla="*/ 3 w 5"/>
                  <a:gd name="T3" fmla="*/ 3 h 8"/>
                  <a:gd name="T4" fmla="*/ 0 w 5"/>
                  <a:gd name="T5" fmla="*/ 0 h 8"/>
                  <a:gd name="T6" fmla="*/ 4 w 5"/>
                  <a:gd name="T7" fmla="*/ 3 h 8"/>
                  <a:gd name="T8" fmla="*/ 5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5" y="8"/>
                      <a:pt x="5" y="5"/>
                      <a:pt x="3" y="3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3" y="1"/>
                      <a:pt x="4" y="3"/>
                    </a:cubicBezTo>
                    <a:cubicBezTo>
                      <a:pt x="5" y="5"/>
                      <a:pt x="5" y="8"/>
                      <a:pt x="5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187">
                <a:extLst>
                  <a:ext uri="{FF2B5EF4-FFF2-40B4-BE49-F238E27FC236}">
                    <a16:creationId xmlns:a16="http://schemas.microsoft.com/office/drawing/2014/main" id="{81305682-B1BB-4B12-A457-A5EEE0750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4347"/>
                <a:ext cx="8" cy="9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2 h 4"/>
                  <a:gd name="T4" fmla="*/ 0 w 3"/>
                  <a:gd name="T5" fmla="*/ 0 h 4"/>
                  <a:gd name="T6" fmla="*/ 1 w 3"/>
                  <a:gd name="T7" fmla="*/ 2 h 4"/>
                  <a:gd name="T8" fmla="*/ 2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3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2"/>
                    </a:cubicBezTo>
                    <a:cubicBezTo>
                      <a:pt x="2" y="3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188">
                <a:extLst>
                  <a:ext uri="{FF2B5EF4-FFF2-40B4-BE49-F238E27FC236}">
                    <a16:creationId xmlns:a16="http://schemas.microsoft.com/office/drawing/2014/main" id="{91C53921-EA18-438A-B1E3-E3132BEA4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3" y="4344"/>
                <a:ext cx="9" cy="8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2 h 3"/>
                  <a:gd name="T4" fmla="*/ 1 w 4"/>
                  <a:gd name="T5" fmla="*/ 0 h 3"/>
                  <a:gd name="T6" fmla="*/ 2 w 4"/>
                  <a:gd name="T7" fmla="*/ 1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4" y="3"/>
                      <a:pt x="3" y="2"/>
                      <a:pt x="2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2" y="1"/>
                    </a:cubicBezTo>
                    <a:cubicBezTo>
                      <a:pt x="3" y="2"/>
                      <a:pt x="4" y="3"/>
                      <a:pt x="4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89">
                <a:extLst>
                  <a:ext uri="{FF2B5EF4-FFF2-40B4-BE49-F238E27FC236}">
                    <a16:creationId xmlns:a16="http://schemas.microsoft.com/office/drawing/2014/main" id="{B6E8635A-51D3-4298-92EE-DF3BFD7C5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40"/>
                <a:ext cx="12" cy="2"/>
              </a:xfrm>
              <a:custGeom>
                <a:avLst/>
                <a:gdLst>
                  <a:gd name="T0" fmla="*/ 5 w 5"/>
                  <a:gd name="T1" fmla="*/ 0 h 1"/>
                  <a:gd name="T2" fmla="*/ 3 w 5"/>
                  <a:gd name="T3" fmla="*/ 1 h 1"/>
                  <a:gd name="T4" fmla="*/ 0 w 5"/>
                  <a:gd name="T5" fmla="*/ 0 h 1"/>
                  <a:gd name="T6" fmla="*/ 3 w 5"/>
                  <a:gd name="T7" fmla="*/ 0 h 1"/>
                  <a:gd name="T8" fmla="*/ 5 w 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">
                    <a:moveTo>
                      <a:pt x="5" y="0"/>
                    </a:moveTo>
                    <a:cubicBezTo>
                      <a:pt x="5" y="1"/>
                      <a:pt x="4" y="1"/>
                      <a:pt x="3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3" y="0"/>
                    </a:cubicBezTo>
                    <a:cubicBezTo>
                      <a:pt x="4" y="0"/>
                      <a:pt x="5" y="0"/>
                      <a:pt x="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90">
                <a:extLst>
                  <a:ext uri="{FF2B5EF4-FFF2-40B4-BE49-F238E27FC236}">
                    <a16:creationId xmlns:a16="http://schemas.microsoft.com/office/drawing/2014/main" id="{CA21646C-630D-4745-B992-CB17543D8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" y="4333"/>
                <a:ext cx="17" cy="2"/>
              </a:xfrm>
              <a:custGeom>
                <a:avLst/>
                <a:gdLst>
                  <a:gd name="T0" fmla="*/ 6 w 7"/>
                  <a:gd name="T1" fmla="*/ 0 h 1"/>
                  <a:gd name="T2" fmla="*/ 3 w 7"/>
                  <a:gd name="T3" fmla="*/ 1 h 1"/>
                  <a:gd name="T4" fmla="*/ 0 w 7"/>
                  <a:gd name="T5" fmla="*/ 0 h 1"/>
                  <a:gd name="T6" fmla="*/ 3 w 7"/>
                  <a:gd name="T7" fmla="*/ 0 h 1"/>
                  <a:gd name="T8" fmla="*/ 6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6" y="0"/>
                    </a:move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91">
                <a:extLst>
                  <a:ext uri="{FF2B5EF4-FFF2-40B4-BE49-F238E27FC236}">
                    <a16:creationId xmlns:a16="http://schemas.microsoft.com/office/drawing/2014/main" id="{988C6F48-09B8-463E-8A41-23E2EB628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4" y="4333"/>
                <a:ext cx="24" cy="14"/>
              </a:xfrm>
              <a:custGeom>
                <a:avLst/>
                <a:gdLst>
                  <a:gd name="T0" fmla="*/ 10 w 10"/>
                  <a:gd name="T1" fmla="*/ 6 h 6"/>
                  <a:gd name="T2" fmla="*/ 7 w 10"/>
                  <a:gd name="T3" fmla="*/ 5 h 6"/>
                  <a:gd name="T4" fmla="*/ 3 w 10"/>
                  <a:gd name="T5" fmla="*/ 5 h 6"/>
                  <a:gd name="T6" fmla="*/ 1 w 10"/>
                  <a:gd name="T7" fmla="*/ 4 h 6"/>
                  <a:gd name="T8" fmla="*/ 0 w 10"/>
                  <a:gd name="T9" fmla="*/ 3 h 6"/>
                  <a:gd name="T10" fmla="*/ 1 w 10"/>
                  <a:gd name="T11" fmla="*/ 2 h 6"/>
                  <a:gd name="T12" fmla="*/ 8 w 10"/>
                  <a:gd name="T13" fmla="*/ 3 h 6"/>
                  <a:gd name="T14" fmla="*/ 9 w 10"/>
                  <a:gd name="T15" fmla="*/ 6 h 6"/>
                  <a:gd name="T16" fmla="*/ 9 w 10"/>
                  <a:gd name="T17" fmla="*/ 6 h 6"/>
                  <a:gd name="T18" fmla="*/ 8 w 10"/>
                  <a:gd name="T19" fmla="*/ 4 h 6"/>
                  <a:gd name="T20" fmla="*/ 5 w 10"/>
                  <a:gd name="T21" fmla="*/ 2 h 6"/>
                  <a:gd name="T22" fmla="*/ 1 w 10"/>
                  <a:gd name="T23" fmla="*/ 2 h 6"/>
                  <a:gd name="T24" fmla="*/ 1 w 10"/>
                  <a:gd name="T25" fmla="*/ 3 h 6"/>
                  <a:gd name="T26" fmla="*/ 3 w 10"/>
                  <a:gd name="T27" fmla="*/ 4 h 6"/>
                  <a:gd name="T28" fmla="*/ 7 w 10"/>
                  <a:gd name="T29" fmla="*/ 5 h 6"/>
                  <a:gd name="T30" fmla="*/ 10 w 10"/>
                  <a:gd name="T3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cubicBezTo>
                      <a:pt x="10" y="6"/>
                      <a:pt x="9" y="6"/>
                      <a:pt x="7" y="5"/>
                    </a:cubicBezTo>
                    <a:cubicBezTo>
                      <a:pt x="6" y="5"/>
                      <a:pt x="4" y="5"/>
                      <a:pt x="3" y="5"/>
                    </a:cubicBez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4" y="0"/>
                      <a:pt x="7" y="2"/>
                      <a:pt x="8" y="3"/>
                    </a:cubicBezTo>
                    <a:cubicBezTo>
                      <a:pt x="9" y="4"/>
                      <a:pt x="9" y="5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5"/>
                      <a:pt x="8" y="4"/>
                    </a:cubicBezTo>
                    <a:cubicBezTo>
                      <a:pt x="7" y="3"/>
                      <a:pt x="6" y="2"/>
                      <a:pt x="5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1" y="2"/>
                      <a:pt x="1" y="3"/>
                      <a:pt x="1" y="3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4" y="5"/>
                      <a:pt x="6" y="5"/>
                      <a:pt x="7" y="5"/>
                    </a:cubicBezTo>
                    <a:cubicBezTo>
                      <a:pt x="9" y="5"/>
                      <a:pt x="10" y="5"/>
                      <a:pt x="10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92">
                <a:extLst>
                  <a:ext uri="{FF2B5EF4-FFF2-40B4-BE49-F238E27FC236}">
                    <a16:creationId xmlns:a16="http://schemas.microsoft.com/office/drawing/2014/main" id="{D55B9108-4DAA-4A30-ADD6-640C4AEB7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4333"/>
                <a:ext cx="14" cy="14"/>
              </a:xfrm>
              <a:custGeom>
                <a:avLst/>
                <a:gdLst>
                  <a:gd name="T0" fmla="*/ 1 w 6"/>
                  <a:gd name="T1" fmla="*/ 6 h 6"/>
                  <a:gd name="T2" fmla="*/ 1 w 6"/>
                  <a:gd name="T3" fmla="*/ 4 h 6"/>
                  <a:gd name="T4" fmla="*/ 2 w 6"/>
                  <a:gd name="T5" fmla="*/ 1 h 6"/>
                  <a:gd name="T6" fmla="*/ 4 w 6"/>
                  <a:gd name="T7" fmla="*/ 0 h 6"/>
                  <a:gd name="T8" fmla="*/ 5 w 6"/>
                  <a:gd name="T9" fmla="*/ 1 h 6"/>
                  <a:gd name="T10" fmla="*/ 5 w 6"/>
                  <a:gd name="T11" fmla="*/ 3 h 6"/>
                  <a:gd name="T12" fmla="*/ 3 w 6"/>
                  <a:gd name="T13" fmla="*/ 4 h 6"/>
                  <a:gd name="T14" fmla="*/ 1 w 6"/>
                  <a:gd name="T15" fmla="*/ 6 h 6"/>
                  <a:gd name="T16" fmla="*/ 3 w 6"/>
                  <a:gd name="T17" fmla="*/ 4 h 6"/>
                  <a:gd name="T18" fmla="*/ 4 w 6"/>
                  <a:gd name="T19" fmla="*/ 2 h 6"/>
                  <a:gd name="T20" fmla="*/ 4 w 6"/>
                  <a:gd name="T21" fmla="*/ 0 h 6"/>
                  <a:gd name="T22" fmla="*/ 2 w 6"/>
                  <a:gd name="T23" fmla="*/ 2 h 6"/>
                  <a:gd name="T24" fmla="*/ 1 w 6"/>
                  <a:gd name="T25" fmla="*/ 4 h 6"/>
                  <a:gd name="T26" fmla="*/ 1 w 6"/>
                  <a:gd name="T2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6">
                    <a:moveTo>
                      <a:pt x="1" y="6"/>
                    </a:moveTo>
                    <a:cubicBezTo>
                      <a:pt x="1" y="6"/>
                      <a:pt x="0" y="5"/>
                      <a:pt x="1" y="4"/>
                    </a:cubicBezTo>
                    <a:cubicBezTo>
                      <a:pt x="1" y="3"/>
                      <a:pt x="1" y="2"/>
                      <a:pt x="2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5" y="0"/>
                      <a:pt x="6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3" y="4"/>
                      <a:pt x="4" y="3"/>
                      <a:pt x="4" y="2"/>
                    </a:cubicBezTo>
                    <a:cubicBezTo>
                      <a:pt x="5" y="2"/>
                      <a:pt x="5" y="1"/>
                      <a:pt x="4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93">
                <a:extLst>
                  <a:ext uri="{FF2B5EF4-FFF2-40B4-BE49-F238E27FC236}">
                    <a16:creationId xmlns:a16="http://schemas.microsoft.com/office/drawing/2014/main" id="{A874CE07-F83C-4940-B8AF-09A70DAA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" y="4342"/>
                <a:ext cx="45" cy="31"/>
              </a:xfrm>
              <a:custGeom>
                <a:avLst/>
                <a:gdLst>
                  <a:gd name="T0" fmla="*/ 19 w 19"/>
                  <a:gd name="T1" fmla="*/ 0 h 13"/>
                  <a:gd name="T2" fmla="*/ 15 w 19"/>
                  <a:gd name="T3" fmla="*/ 0 h 13"/>
                  <a:gd name="T4" fmla="*/ 7 w 19"/>
                  <a:gd name="T5" fmla="*/ 3 h 13"/>
                  <a:gd name="T6" fmla="*/ 1 w 19"/>
                  <a:gd name="T7" fmla="*/ 10 h 13"/>
                  <a:gd name="T8" fmla="*/ 0 w 19"/>
                  <a:gd name="T9" fmla="*/ 13 h 13"/>
                  <a:gd name="T10" fmla="*/ 0 w 19"/>
                  <a:gd name="T11" fmla="*/ 12 h 13"/>
                  <a:gd name="T12" fmla="*/ 1 w 19"/>
                  <a:gd name="T13" fmla="*/ 9 h 13"/>
                  <a:gd name="T14" fmla="*/ 6 w 19"/>
                  <a:gd name="T15" fmla="*/ 2 h 13"/>
                  <a:gd name="T16" fmla="*/ 15 w 19"/>
                  <a:gd name="T17" fmla="*/ 0 h 13"/>
                  <a:gd name="T18" fmla="*/ 18 w 19"/>
                  <a:gd name="T19" fmla="*/ 0 h 13"/>
                  <a:gd name="T20" fmla="*/ 19 w 19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3">
                    <a:moveTo>
                      <a:pt x="19" y="0"/>
                    </a:moveTo>
                    <a:cubicBezTo>
                      <a:pt x="19" y="0"/>
                      <a:pt x="17" y="0"/>
                      <a:pt x="15" y="0"/>
                    </a:cubicBezTo>
                    <a:cubicBezTo>
                      <a:pt x="13" y="0"/>
                      <a:pt x="10" y="1"/>
                      <a:pt x="7" y="3"/>
                    </a:cubicBezTo>
                    <a:cubicBezTo>
                      <a:pt x="4" y="5"/>
                      <a:pt x="2" y="8"/>
                      <a:pt x="1" y="10"/>
                    </a:cubicBezTo>
                    <a:cubicBezTo>
                      <a:pt x="0" y="12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2"/>
                    </a:cubicBezTo>
                    <a:cubicBezTo>
                      <a:pt x="0" y="11"/>
                      <a:pt x="0" y="11"/>
                      <a:pt x="1" y="9"/>
                    </a:cubicBezTo>
                    <a:cubicBezTo>
                      <a:pt x="2" y="7"/>
                      <a:pt x="3" y="5"/>
                      <a:pt x="6" y="2"/>
                    </a:cubicBezTo>
                    <a:cubicBezTo>
                      <a:pt x="9" y="0"/>
                      <a:pt x="13" y="0"/>
                      <a:pt x="15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94">
                <a:extLst>
                  <a:ext uri="{FF2B5EF4-FFF2-40B4-BE49-F238E27FC236}">
                    <a16:creationId xmlns:a16="http://schemas.microsoft.com/office/drawing/2014/main" id="{D430BEDD-610D-4FA5-92B2-09FC10DEF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" y="4361"/>
                <a:ext cx="36" cy="2"/>
              </a:xfrm>
              <a:custGeom>
                <a:avLst/>
                <a:gdLst>
                  <a:gd name="T0" fmla="*/ 15 w 15"/>
                  <a:gd name="T1" fmla="*/ 0 h 1"/>
                  <a:gd name="T2" fmla="*/ 7 w 15"/>
                  <a:gd name="T3" fmla="*/ 1 h 1"/>
                  <a:gd name="T4" fmla="*/ 0 w 15"/>
                  <a:gd name="T5" fmla="*/ 0 h 1"/>
                  <a:gd name="T6" fmla="*/ 7 w 15"/>
                  <a:gd name="T7" fmla="*/ 0 h 1"/>
                  <a:gd name="T8" fmla="*/ 15 w 15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">
                    <a:moveTo>
                      <a:pt x="15" y="0"/>
                    </a:moveTo>
                    <a:cubicBezTo>
                      <a:pt x="15" y="1"/>
                      <a:pt x="11" y="1"/>
                      <a:pt x="7" y="1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3" y="0"/>
                      <a:pt x="7" y="0"/>
                    </a:cubicBezTo>
                    <a:cubicBezTo>
                      <a:pt x="11" y="0"/>
                      <a:pt x="15" y="0"/>
                      <a:pt x="1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95">
                <a:extLst>
                  <a:ext uri="{FF2B5EF4-FFF2-40B4-BE49-F238E27FC236}">
                    <a16:creationId xmlns:a16="http://schemas.microsoft.com/office/drawing/2014/main" id="{83DF82E7-E363-4B4A-B02E-53B17C4F9C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8" y="4363"/>
                <a:ext cx="5" cy="5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0"/>
                      <a:pt x="1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96">
                <a:extLst>
                  <a:ext uri="{FF2B5EF4-FFF2-40B4-BE49-F238E27FC236}">
                    <a16:creationId xmlns:a16="http://schemas.microsoft.com/office/drawing/2014/main" id="{1E371910-E5EB-4CA0-9C51-DDB2A9C56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8" y="4352"/>
                <a:ext cx="4" cy="4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1 h 2"/>
                  <a:gd name="T4" fmla="*/ 0 w 2"/>
                  <a:gd name="T5" fmla="*/ 2 h 2"/>
                  <a:gd name="T6" fmla="*/ 1 w 2"/>
                  <a:gd name="T7" fmla="*/ 1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2" y="0"/>
                      <a:pt x="2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97">
                <a:extLst>
                  <a:ext uri="{FF2B5EF4-FFF2-40B4-BE49-F238E27FC236}">
                    <a16:creationId xmlns:a16="http://schemas.microsoft.com/office/drawing/2014/main" id="{3F252E11-F481-47BD-82D7-0EF2BEA86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7" y="4347"/>
                <a:ext cx="7" cy="2"/>
              </a:xfrm>
              <a:custGeom>
                <a:avLst/>
                <a:gdLst>
                  <a:gd name="T0" fmla="*/ 3 w 3"/>
                  <a:gd name="T1" fmla="*/ 1 h 1"/>
                  <a:gd name="T2" fmla="*/ 2 w 3"/>
                  <a:gd name="T3" fmla="*/ 1 h 1"/>
                  <a:gd name="T4" fmla="*/ 0 w 3"/>
                  <a:gd name="T5" fmla="*/ 1 h 1"/>
                  <a:gd name="T6" fmla="*/ 2 w 3"/>
                  <a:gd name="T7" fmla="*/ 0 h 1"/>
                  <a:gd name="T8" fmla="*/ 3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3" y="1"/>
                      <a:pt x="3" y="1"/>
                      <a:pt x="2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198">
                <a:extLst>
                  <a:ext uri="{FF2B5EF4-FFF2-40B4-BE49-F238E27FC236}">
                    <a16:creationId xmlns:a16="http://schemas.microsoft.com/office/drawing/2014/main" id="{1EB2319B-27B6-4D81-940C-E42E7F76BB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4347"/>
                <a:ext cx="3" cy="0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199">
                <a:extLst>
                  <a:ext uri="{FF2B5EF4-FFF2-40B4-BE49-F238E27FC236}">
                    <a16:creationId xmlns:a16="http://schemas.microsoft.com/office/drawing/2014/main" id="{8EAD3DEC-FD8D-4E26-B524-13BCFA581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" y="2238"/>
                <a:ext cx="397" cy="472"/>
              </a:xfrm>
              <a:custGeom>
                <a:avLst/>
                <a:gdLst>
                  <a:gd name="T0" fmla="*/ 0 w 167"/>
                  <a:gd name="T1" fmla="*/ 0 h 199"/>
                  <a:gd name="T2" fmla="*/ 40 w 167"/>
                  <a:gd name="T3" fmla="*/ 16 h 199"/>
                  <a:gd name="T4" fmla="*/ 160 w 167"/>
                  <a:gd name="T5" fmla="*/ 142 h 199"/>
                  <a:gd name="T6" fmla="*/ 93 w 167"/>
                  <a:gd name="T7" fmla="*/ 199 h 199"/>
                  <a:gd name="T8" fmla="*/ 52 w 167"/>
                  <a:gd name="T9" fmla="*/ 151 h 199"/>
                  <a:gd name="T10" fmla="*/ 77 w 167"/>
                  <a:gd name="T11" fmla="*/ 137 h 199"/>
                  <a:gd name="T12" fmla="*/ 16 w 167"/>
                  <a:gd name="T13" fmla="*/ 96 h 199"/>
                  <a:gd name="T14" fmla="*/ 0 w 167"/>
                  <a:gd name="T1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7" h="199">
                    <a:moveTo>
                      <a:pt x="0" y="0"/>
                    </a:moveTo>
                    <a:cubicBezTo>
                      <a:pt x="0" y="0"/>
                      <a:pt x="19" y="2"/>
                      <a:pt x="40" y="16"/>
                    </a:cubicBezTo>
                    <a:cubicBezTo>
                      <a:pt x="87" y="47"/>
                      <a:pt x="167" y="112"/>
                      <a:pt x="160" y="142"/>
                    </a:cubicBezTo>
                    <a:cubicBezTo>
                      <a:pt x="155" y="168"/>
                      <a:pt x="93" y="199"/>
                      <a:pt x="93" y="199"/>
                    </a:cubicBezTo>
                    <a:cubicBezTo>
                      <a:pt x="52" y="151"/>
                      <a:pt x="52" y="151"/>
                      <a:pt x="52" y="151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16" y="96"/>
                      <a:pt x="16" y="96"/>
                      <a:pt x="16" y="9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00">
                <a:extLst>
                  <a:ext uri="{FF2B5EF4-FFF2-40B4-BE49-F238E27FC236}">
                    <a16:creationId xmlns:a16="http://schemas.microsoft.com/office/drawing/2014/main" id="{0D7CDF16-B0ED-4F39-ADCC-1B402421C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" y="2233"/>
                <a:ext cx="714" cy="705"/>
              </a:xfrm>
              <a:custGeom>
                <a:avLst/>
                <a:gdLst>
                  <a:gd name="T0" fmla="*/ 275 w 301"/>
                  <a:gd name="T1" fmla="*/ 101 h 297"/>
                  <a:gd name="T2" fmla="*/ 273 w 301"/>
                  <a:gd name="T3" fmla="*/ 108 h 297"/>
                  <a:gd name="T4" fmla="*/ 266 w 301"/>
                  <a:gd name="T5" fmla="*/ 141 h 297"/>
                  <a:gd name="T6" fmla="*/ 264 w 301"/>
                  <a:gd name="T7" fmla="*/ 190 h 297"/>
                  <a:gd name="T8" fmla="*/ 301 w 301"/>
                  <a:gd name="T9" fmla="*/ 276 h 297"/>
                  <a:gd name="T10" fmla="*/ 119 w 301"/>
                  <a:gd name="T11" fmla="*/ 297 h 297"/>
                  <a:gd name="T12" fmla="*/ 132 w 301"/>
                  <a:gd name="T13" fmla="*/ 216 h 297"/>
                  <a:gd name="T14" fmla="*/ 140 w 301"/>
                  <a:gd name="T15" fmla="*/ 143 h 297"/>
                  <a:gd name="T16" fmla="*/ 135 w 301"/>
                  <a:gd name="T17" fmla="*/ 108 h 297"/>
                  <a:gd name="T18" fmla="*/ 73 w 301"/>
                  <a:gd name="T19" fmla="*/ 173 h 297"/>
                  <a:gd name="T20" fmla="*/ 25 w 301"/>
                  <a:gd name="T21" fmla="*/ 178 h 297"/>
                  <a:gd name="T22" fmla="*/ 25 w 301"/>
                  <a:gd name="T23" fmla="*/ 127 h 297"/>
                  <a:gd name="T24" fmla="*/ 120 w 301"/>
                  <a:gd name="T25" fmla="*/ 18 h 297"/>
                  <a:gd name="T26" fmla="*/ 145 w 301"/>
                  <a:gd name="T27" fmla="*/ 3 h 297"/>
                  <a:gd name="T28" fmla="*/ 166 w 301"/>
                  <a:gd name="T29" fmla="*/ 0 h 297"/>
                  <a:gd name="T30" fmla="*/ 229 w 301"/>
                  <a:gd name="T31" fmla="*/ 0 h 297"/>
                  <a:gd name="T32" fmla="*/ 248 w 301"/>
                  <a:gd name="T33" fmla="*/ 2 h 297"/>
                  <a:gd name="T34" fmla="*/ 276 w 301"/>
                  <a:gd name="T35" fmla="*/ 37 h 297"/>
                  <a:gd name="T36" fmla="*/ 275 w 301"/>
                  <a:gd name="T37" fmla="*/ 10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1" h="297">
                    <a:moveTo>
                      <a:pt x="275" y="101"/>
                    </a:move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66" y="141"/>
                      <a:pt x="266" y="141"/>
                      <a:pt x="266" y="141"/>
                    </a:cubicBezTo>
                    <a:cubicBezTo>
                      <a:pt x="264" y="190"/>
                      <a:pt x="264" y="190"/>
                      <a:pt x="264" y="190"/>
                    </a:cubicBezTo>
                    <a:cubicBezTo>
                      <a:pt x="301" y="237"/>
                      <a:pt x="301" y="276"/>
                      <a:pt x="301" y="276"/>
                    </a:cubicBezTo>
                    <a:cubicBezTo>
                      <a:pt x="119" y="297"/>
                      <a:pt x="119" y="297"/>
                      <a:pt x="119" y="297"/>
                    </a:cubicBezTo>
                    <a:cubicBezTo>
                      <a:pt x="119" y="261"/>
                      <a:pt x="132" y="216"/>
                      <a:pt x="132" y="216"/>
                    </a:cubicBezTo>
                    <a:cubicBezTo>
                      <a:pt x="143" y="198"/>
                      <a:pt x="142" y="144"/>
                      <a:pt x="140" y="143"/>
                    </a:cubicBezTo>
                    <a:cubicBezTo>
                      <a:pt x="129" y="131"/>
                      <a:pt x="126" y="123"/>
                      <a:pt x="135" y="108"/>
                    </a:cubicBezTo>
                    <a:cubicBezTo>
                      <a:pt x="135" y="108"/>
                      <a:pt x="78" y="168"/>
                      <a:pt x="73" y="173"/>
                    </a:cubicBezTo>
                    <a:cubicBezTo>
                      <a:pt x="53" y="191"/>
                      <a:pt x="34" y="186"/>
                      <a:pt x="25" y="178"/>
                    </a:cubicBezTo>
                    <a:cubicBezTo>
                      <a:pt x="0" y="156"/>
                      <a:pt x="25" y="127"/>
                      <a:pt x="25" y="127"/>
                    </a:cubicBezTo>
                    <a:cubicBezTo>
                      <a:pt x="120" y="18"/>
                      <a:pt x="120" y="18"/>
                      <a:pt x="120" y="18"/>
                    </a:cubicBezTo>
                    <a:cubicBezTo>
                      <a:pt x="127" y="11"/>
                      <a:pt x="136" y="6"/>
                      <a:pt x="145" y="3"/>
                    </a:cubicBezTo>
                    <a:cubicBezTo>
                      <a:pt x="155" y="1"/>
                      <a:pt x="166" y="0"/>
                      <a:pt x="166" y="0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229" y="0"/>
                      <a:pt x="241" y="1"/>
                      <a:pt x="248" y="2"/>
                    </a:cubicBezTo>
                    <a:cubicBezTo>
                      <a:pt x="248" y="2"/>
                      <a:pt x="270" y="10"/>
                      <a:pt x="276" y="37"/>
                    </a:cubicBezTo>
                    <a:cubicBezTo>
                      <a:pt x="281" y="64"/>
                      <a:pt x="275" y="101"/>
                      <a:pt x="275" y="10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201">
                <a:extLst>
                  <a:ext uri="{FF2B5EF4-FFF2-40B4-BE49-F238E27FC236}">
                    <a16:creationId xmlns:a16="http://schemas.microsoft.com/office/drawing/2014/main" id="{7B862373-5938-4569-9B1E-91BC3543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3" y="2368"/>
                <a:ext cx="33" cy="316"/>
              </a:xfrm>
              <a:custGeom>
                <a:avLst/>
                <a:gdLst>
                  <a:gd name="T0" fmla="*/ 13 w 14"/>
                  <a:gd name="T1" fmla="*/ 0 h 133"/>
                  <a:gd name="T2" fmla="*/ 14 w 14"/>
                  <a:gd name="T3" fmla="*/ 5 h 133"/>
                  <a:gd name="T4" fmla="*/ 13 w 14"/>
                  <a:gd name="T5" fmla="*/ 20 h 133"/>
                  <a:gd name="T6" fmla="*/ 7 w 14"/>
                  <a:gd name="T7" fmla="*/ 67 h 133"/>
                  <a:gd name="T8" fmla="*/ 3 w 14"/>
                  <a:gd name="T9" fmla="*/ 85 h 133"/>
                  <a:gd name="T10" fmla="*/ 3 w 14"/>
                  <a:gd name="T11" fmla="*/ 84 h 133"/>
                  <a:gd name="T12" fmla="*/ 2 w 14"/>
                  <a:gd name="T13" fmla="*/ 119 h 133"/>
                  <a:gd name="T14" fmla="*/ 1 w 14"/>
                  <a:gd name="T15" fmla="*/ 130 h 133"/>
                  <a:gd name="T16" fmla="*/ 0 w 14"/>
                  <a:gd name="T17" fmla="*/ 133 h 133"/>
                  <a:gd name="T18" fmla="*/ 0 w 14"/>
                  <a:gd name="T19" fmla="*/ 130 h 133"/>
                  <a:gd name="T20" fmla="*/ 0 w 14"/>
                  <a:gd name="T21" fmla="*/ 119 h 133"/>
                  <a:gd name="T22" fmla="*/ 1 w 14"/>
                  <a:gd name="T23" fmla="*/ 84 h 133"/>
                  <a:gd name="T24" fmla="*/ 1 w 14"/>
                  <a:gd name="T25" fmla="*/ 84 h 133"/>
                  <a:gd name="T26" fmla="*/ 1 w 14"/>
                  <a:gd name="T27" fmla="*/ 84 h 133"/>
                  <a:gd name="T28" fmla="*/ 5 w 14"/>
                  <a:gd name="T29" fmla="*/ 66 h 133"/>
                  <a:gd name="T30" fmla="*/ 12 w 14"/>
                  <a:gd name="T31" fmla="*/ 20 h 133"/>
                  <a:gd name="T32" fmla="*/ 13 w 14"/>
                  <a:gd name="T33" fmla="*/ 5 h 133"/>
                  <a:gd name="T34" fmla="*/ 13 w 14"/>
                  <a:gd name="T3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33">
                    <a:moveTo>
                      <a:pt x="13" y="0"/>
                    </a:moveTo>
                    <a:cubicBezTo>
                      <a:pt x="13" y="0"/>
                      <a:pt x="13" y="2"/>
                      <a:pt x="14" y="5"/>
                    </a:cubicBezTo>
                    <a:cubicBezTo>
                      <a:pt x="14" y="9"/>
                      <a:pt x="14" y="14"/>
                      <a:pt x="13" y="20"/>
                    </a:cubicBezTo>
                    <a:cubicBezTo>
                      <a:pt x="13" y="32"/>
                      <a:pt x="10" y="49"/>
                      <a:pt x="7" y="67"/>
                    </a:cubicBezTo>
                    <a:cubicBezTo>
                      <a:pt x="6" y="73"/>
                      <a:pt x="4" y="79"/>
                      <a:pt x="3" y="85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99"/>
                      <a:pt x="2" y="111"/>
                      <a:pt x="2" y="119"/>
                    </a:cubicBezTo>
                    <a:cubicBezTo>
                      <a:pt x="1" y="124"/>
                      <a:pt x="1" y="127"/>
                      <a:pt x="1" y="130"/>
                    </a:cubicBezTo>
                    <a:cubicBezTo>
                      <a:pt x="1" y="132"/>
                      <a:pt x="1" y="133"/>
                      <a:pt x="0" y="133"/>
                    </a:cubicBezTo>
                    <a:cubicBezTo>
                      <a:pt x="0" y="133"/>
                      <a:pt x="0" y="132"/>
                      <a:pt x="0" y="130"/>
                    </a:cubicBezTo>
                    <a:cubicBezTo>
                      <a:pt x="0" y="127"/>
                      <a:pt x="0" y="123"/>
                      <a:pt x="0" y="119"/>
                    </a:cubicBezTo>
                    <a:cubicBezTo>
                      <a:pt x="0" y="111"/>
                      <a:pt x="1" y="98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2" y="79"/>
                      <a:pt x="4" y="73"/>
                      <a:pt x="5" y="66"/>
                    </a:cubicBezTo>
                    <a:cubicBezTo>
                      <a:pt x="8" y="48"/>
                      <a:pt x="11" y="32"/>
                      <a:pt x="12" y="20"/>
                    </a:cubicBezTo>
                    <a:cubicBezTo>
                      <a:pt x="12" y="14"/>
                      <a:pt x="13" y="9"/>
                      <a:pt x="13" y="5"/>
                    </a:cubicBezTo>
                    <a:cubicBezTo>
                      <a:pt x="13" y="2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202">
                <a:extLst>
                  <a:ext uri="{FF2B5EF4-FFF2-40B4-BE49-F238E27FC236}">
                    <a16:creationId xmlns:a16="http://schemas.microsoft.com/office/drawing/2014/main" id="{F51ED45F-9582-4846-AB16-532841C40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4" y="2485"/>
                <a:ext cx="157" cy="109"/>
              </a:xfrm>
              <a:custGeom>
                <a:avLst/>
                <a:gdLst>
                  <a:gd name="T0" fmla="*/ 1 w 66"/>
                  <a:gd name="T1" fmla="*/ 0 h 46"/>
                  <a:gd name="T2" fmla="*/ 34 w 66"/>
                  <a:gd name="T3" fmla="*/ 22 h 46"/>
                  <a:gd name="T4" fmla="*/ 66 w 66"/>
                  <a:gd name="T5" fmla="*/ 45 h 46"/>
                  <a:gd name="T6" fmla="*/ 33 w 66"/>
                  <a:gd name="T7" fmla="*/ 23 h 46"/>
                  <a:gd name="T8" fmla="*/ 1 w 66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46">
                    <a:moveTo>
                      <a:pt x="1" y="0"/>
                    </a:moveTo>
                    <a:cubicBezTo>
                      <a:pt x="1" y="0"/>
                      <a:pt x="16" y="9"/>
                      <a:pt x="34" y="22"/>
                    </a:cubicBezTo>
                    <a:cubicBezTo>
                      <a:pt x="52" y="34"/>
                      <a:pt x="66" y="45"/>
                      <a:pt x="66" y="45"/>
                    </a:cubicBezTo>
                    <a:cubicBezTo>
                      <a:pt x="66" y="46"/>
                      <a:pt x="51" y="36"/>
                      <a:pt x="33" y="23"/>
                    </a:cubicBezTo>
                    <a:cubicBezTo>
                      <a:pt x="15" y="1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203">
                <a:extLst>
                  <a:ext uri="{FF2B5EF4-FFF2-40B4-BE49-F238E27FC236}">
                    <a16:creationId xmlns:a16="http://schemas.microsoft.com/office/drawing/2014/main" id="{0D925CDB-DCE8-44B7-8303-377D95160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4" y="2316"/>
                <a:ext cx="124" cy="221"/>
              </a:xfrm>
              <a:custGeom>
                <a:avLst/>
                <a:gdLst>
                  <a:gd name="T0" fmla="*/ 43 w 52"/>
                  <a:gd name="T1" fmla="*/ 0 h 93"/>
                  <a:gd name="T2" fmla="*/ 44 w 52"/>
                  <a:gd name="T3" fmla="*/ 0 h 93"/>
                  <a:gd name="T4" fmla="*/ 46 w 52"/>
                  <a:gd name="T5" fmla="*/ 3 h 93"/>
                  <a:gd name="T6" fmla="*/ 51 w 52"/>
                  <a:gd name="T7" fmla="*/ 14 h 93"/>
                  <a:gd name="T8" fmla="*/ 50 w 52"/>
                  <a:gd name="T9" fmla="*/ 32 h 93"/>
                  <a:gd name="T10" fmla="*/ 40 w 52"/>
                  <a:gd name="T11" fmla="*/ 52 h 93"/>
                  <a:gd name="T12" fmla="*/ 32 w 52"/>
                  <a:gd name="T13" fmla="*/ 61 h 93"/>
                  <a:gd name="T14" fmla="*/ 24 w 52"/>
                  <a:gd name="T15" fmla="*/ 68 h 93"/>
                  <a:gd name="T16" fmla="*/ 11 w 52"/>
                  <a:gd name="T17" fmla="*/ 81 h 93"/>
                  <a:gd name="T18" fmla="*/ 3 w 52"/>
                  <a:gd name="T19" fmla="*/ 89 h 93"/>
                  <a:gd name="T20" fmla="*/ 0 w 52"/>
                  <a:gd name="T21" fmla="*/ 93 h 93"/>
                  <a:gd name="T22" fmla="*/ 2 w 52"/>
                  <a:gd name="T23" fmla="*/ 89 h 93"/>
                  <a:gd name="T24" fmla="*/ 10 w 52"/>
                  <a:gd name="T25" fmla="*/ 80 h 93"/>
                  <a:gd name="T26" fmla="*/ 23 w 52"/>
                  <a:gd name="T27" fmla="*/ 67 h 93"/>
                  <a:gd name="T28" fmla="*/ 31 w 52"/>
                  <a:gd name="T29" fmla="*/ 60 h 93"/>
                  <a:gd name="T30" fmla="*/ 38 w 52"/>
                  <a:gd name="T31" fmla="*/ 51 h 93"/>
                  <a:gd name="T32" fmla="*/ 48 w 52"/>
                  <a:gd name="T33" fmla="*/ 32 h 93"/>
                  <a:gd name="T34" fmla="*/ 50 w 52"/>
                  <a:gd name="T35" fmla="*/ 14 h 93"/>
                  <a:gd name="T36" fmla="*/ 43 w 52"/>
                  <a:gd name="T37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93">
                    <a:moveTo>
                      <a:pt x="43" y="0"/>
                    </a:moveTo>
                    <a:cubicBezTo>
                      <a:pt x="43" y="0"/>
                      <a:pt x="43" y="0"/>
                      <a:pt x="44" y="0"/>
                    </a:cubicBezTo>
                    <a:cubicBezTo>
                      <a:pt x="44" y="1"/>
                      <a:pt x="45" y="2"/>
                      <a:pt x="46" y="3"/>
                    </a:cubicBezTo>
                    <a:cubicBezTo>
                      <a:pt x="48" y="5"/>
                      <a:pt x="50" y="9"/>
                      <a:pt x="51" y="14"/>
                    </a:cubicBezTo>
                    <a:cubicBezTo>
                      <a:pt x="52" y="19"/>
                      <a:pt x="52" y="26"/>
                      <a:pt x="50" y="32"/>
                    </a:cubicBezTo>
                    <a:cubicBezTo>
                      <a:pt x="48" y="39"/>
                      <a:pt x="44" y="46"/>
                      <a:pt x="40" y="52"/>
                    </a:cubicBezTo>
                    <a:cubicBezTo>
                      <a:pt x="37" y="55"/>
                      <a:pt x="35" y="58"/>
                      <a:pt x="32" y="61"/>
                    </a:cubicBezTo>
                    <a:cubicBezTo>
                      <a:pt x="30" y="64"/>
                      <a:pt x="27" y="66"/>
                      <a:pt x="24" y="68"/>
                    </a:cubicBezTo>
                    <a:cubicBezTo>
                      <a:pt x="19" y="73"/>
                      <a:pt x="15" y="77"/>
                      <a:pt x="11" y="81"/>
                    </a:cubicBezTo>
                    <a:cubicBezTo>
                      <a:pt x="8" y="84"/>
                      <a:pt x="5" y="87"/>
                      <a:pt x="3" y="89"/>
                    </a:cubicBezTo>
                    <a:cubicBezTo>
                      <a:pt x="1" y="92"/>
                      <a:pt x="0" y="93"/>
                      <a:pt x="0" y="93"/>
                    </a:cubicBezTo>
                    <a:cubicBezTo>
                      <a:pt x="0" y="93"/>
                      <a:pt x="1" y="91"/>
                      <a:pt x="2" y="89"/>
                    </a:cubicBezTo>
                    <a:cubicBezTo>
                      <a:pt x="4" y="87"/>
                      <a:pt x="7" y="83"/>
                      <a:pt x="10" y="80"/>
                    </a:cubicBezTo>
                    <a:cubicBezTo>
                      <a:pt x="14" y="76"/>
                      <a:pt x="18" y="71"/>
                      <a:pt x="23" y="67"/>
                    </a:cubicBezTo>
                    <a:cubicBezTo>
                      <a:pt x="26" y="64"/>
                      <a:pt x="28" y="62"/>
                      <a:pt x="31" y="60"/>
                    </a:cubicBezTo>
                    <a:cubicBezTo>
                      <a:pt x="33" y="57"/>
                      <a:pt x="36" y="54"/>
                      <a:pt x="38" y="51"/>
                    </a:cubicBezTo>
                    <a:cubicBezTo>
                      <a:pt x="43" y="45"/>
                      <a:pt x="46" y="38"/>
                      <a:pt x="48" y="32"/>
                    </a:cubicBezTo>
                    <a:cubicBezTo>
                      <a:pt x="50" y="25"/>
                      <a:pt x="50" y="19"/>
                      <a:pt x="50" y="14"/>
                    </a:cubicBezTo>
                    <a:cubicBezTo>
                      <a:pt x="48" y="4"/>
                      <a:pt x="42" y="0"/>
                      <a:pt x="43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204">
                <a:extLst>
                  <a:ext uri="{FF2B5EF4-FFF2-40B4-BE49-F238E27FC236}">
                    <a16:creationId xmlns:a16="http://schemas.microsoft.com/office/drawing/2014/main" id="{FE16FDE0-B70B-47F2-8FF7-3EF0D498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7" y="2639"/>
                <a:ext cx="299" cy="60"/>
              </a:xfrm>
              <a:custGeom>
                <a:avLst/>
                <a:gdLst>
                  <a:gd name="T0" fmla="*/ 0 w 299"/>
                  <a:gd name="T1" fmla="*/ 60 h 60"/>
                  <a:gd name="T2" fmla="*/ 4 w 299"/>
                  <a:gd name="T3" fmla="*/ 0 h 60"/>
                  <a:gd name="T4" fmla="*/ 299 w 299"/>
                  <a:gd name="T5" fmla="*/ 0 h 60"/>
                  <a:gd name="T6" fmla="*/ 296 w 299"/>
                  <a:gd name="T7" fmla="*/ 45 h 60"/>
                  <a:gd name="T8" fmla="*/ 0 w 299"/>
                  <a:gd name="T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60">
                    <a:moveTo>
                      <a:pt x="0" y="60"/>
                    </a:moveTo>
                    <a:lnTo>
                      <a:pt x="4" y="0"/>
                    </a:lnTo>
                    <a:lnTo>
                      <a:pt x="299" y="0"/>
                    </a:lnTo>
                    <a:lnTo>
                      <a:pt x="296" y="45"/>
                    </a:ln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Freeform 206">
              <a:extLst>
                <a:ext uri="{FF2B5EF4-FFF2-40B4-BE49-F238E27FC236}">
                  <a16:creationId xmlns:a16="http://schemas.microsoft.com/office/drawing/2014/main" id="{78F5AD59-1A3A-4C0C-B94D-AB90B24C3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5" y="2523"/>
              <a:ext cx="45" cy="138"/>
            </a:xfrm>
            <a:custGeom>
              <a:avLst/>
              <a:gdLst>
                <a:gd name="T0" fmla="*/ 17 w 19"/>
                <a:gd name="T1" fmla="*/ 1 h 58"/>
                <a:gd name="T2" fmla="*/ 10 w 19"/>
                <a:gd name="T3" fmla="*/ 8 h 58"/>
                <a:gd name="T4" fmla="*/ 3 w 19"/>
                <a:gd name="T5" fmla="*/ 30 h 58"/>
                <a:gd name="T6" fmla="*/ 12 w 19"/>
                <a:gd name="T7" fmla="*/ 51 h 58"/>
                <a:gd name="T8" fmla="*/ 19 w 19"/>
                <a:gd name="T9" fmla="*/ 58 h 58"/>
                <a:gd name="T10" fmla="*/ 16 w 19"/>
                <a:gd name="T11" fmla="*/ 57 h 58"/>
                <a:gd name="T12" fmla="*/ 10 w 19"/>
                <a:gd name="T13" fmla="*/ 52 h 58"/>
                <a:gd name="T14" fmla="*/ 0 w 19"/>
                <a:gd name="T15" fmla="*/ 30 h 58"/>
                <a:gd name="T16" fmla="*/ 9 w 19"/>
                <a:gd name="T17" fmla="*/ 7 h 58"/>
                <a:gd name="T18" fmla="*/ 14 w 19"/>
                <a:gd name="T19" fmla="*/ 2 h 58"/>
                <a:gd name="T20" fmla="*/ 17 w 19"/>
                <a:gd name="T21" fmla="*/ 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8">
                  <a:moveTo>
                    <a:pt x="17" y="1"/>
                  </a:moveTo>
                  <a:cubicBezTo>
                    <a:pt x="17" y="1"/>
                    <a:pt x="14" y="3"/>
                    <a:pt x="10" y="8"/>
                  </a:cubicBezTo>
                  <a:cubicBezTo>
                    <a:pt x="6" y="13"/>
                    <a:pt x="2" y="21"/>
                    <a:pt x="3" y="30"/>
                  </a:cubicBezTo>
                  <a:cubicBezTo>
                    <a:pt x="3" y="39"/>
                    <a:pt x="7" y="47"/>
                    <a:pt x="12" y="51"/>
                  </a:cubicBezTo>
                  <a:cubicBezTo>
                    <a:pt x="16" y="56"/>
                    <a:pt x="19" y="58"/>
                    <a:pt x="19" y="58"/>
                  </a:cubicBezTo>
                  <a:cubicBezTo>
                    <a:pt x="19" y="58"/>
                    <a:pt x="18" y="58"/>
                    <a:pt x="16" y="57"/>
                  </a:cubicBezTo>
                  <a:cubicBezTo>
                    <a:pt x="15" y="56"/>
                    <a:pt x="13" y="54"/>
                    <a:pt x="10" y="52"/>
                  </a:cubicBezTo>
                  <a:cubicBezTo>
                    <a:pt x="6" y="48"/>
                    <a:pt x="1" y="40"/>
                    <a:pt x="0" y="30"/>
                  </a:cubicBezTo>
                  <a:cubicBezTo>
                    <a:pt x="0" y="20"/>
                    <a:pt x="4" y="12"/>
                    <a:pt x="9" y="7"/>
                  </a:cubicBezTo>
                  <a:cubicBezTo>
                    <a:pt x="11" y="4"/>
                    <a:pt x="13" y="3"/>
                    <a:pt x="14" y="2"/>
                  </a:cubicBezTo>
                  <a:cubicBezTo>
                    <a:pt x="16" y="1"/>
                    <a:pt x="17" y="0"/>
                    <a:pt x="17" y="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07">
              <a:extLst>
                <a:ext uri="{FF2B5EF4-FFF2-40B4-BE49-F238E27FC236}">
                  <a16:creationId xmlns:a16="http://schemas.microsoft.com/office/drawing/2014/main" id="{86694748-D6D4-4ACD-A08D-975C62247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8">
              <a:extLst>
                <a:ext uri="{FF2B5EF4-FFF2-40B4-BE49-F238E27FC236}">
                  <a16:creationId xmlns:a16="http://schemas.microsoft.com/office/drawing/2014/main" id="{6F0C9D18-C426-4272-9C79-2C166EB0D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297"/>
              <a:ext cx="152" cy="81"/>
            </a:xfrm>
            <a:custGeom>
              <a:avLst/>
              <a:gdLst>
                <a:gd name="T0" fmla="*/ 119 w 152"/>
                <a:gd name="T1" fmla="*/ 2 h 81"/>
                <a:gd name="T2" fmla="*/ 152 w 152"/>
                <a:gd name="T3" fmla="*/ 81 h 81"/>
                <a:gd name="T4" fmla="*/ 3 w 152"/>
                <a:gd name="T5" fmla="*/ 78 h 81"/>
                <a:gd name="T6" fmla="*/ 0 w 152"/>
                <a:gd name="T7" fmla="*/ 0 h 81"/>
                <a:gd name="T8" fmla="*/ 119 w 152"/>
                <a:gd name="T9" fmla="*/ 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81">
                  <a:moveTo>
                    <a:pt x="119" y="2"/>
                  </a:moveTo>
                  <a:lnTo>
                    <a:pt x="152" y="81"/>
                  </a:lnTo>
                  <a:lnTo>
                    <a:pt x="3" y="78"/>
                  </a:lnTo>
                  <a:lnTo>
                    <a:pt x="0" y="0"/>
                  </a:lnTo>
                  <a:lnTo>
                    <a:pt x="119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9">
              <a:extLst>
                <a:ext uri="{FF2B5EF4-FFF2-40B4-BE49-F238E27FC236}">
                  <a16:creationId xmlns:a16="http://schemas.microsoft.com/office/drawing/2014/main" id="{3D292D3E-2D68-4110-8118-B4799A630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0 w 61"/>
                <a:gd name="T1" fmla="*/ 1 h 1"/>
                <a:gd name="T2" fmla="*/ 9 w 61"/>
                <a:gd name="T3" fmla="*/ 1 h 1"/>
                <a:gd name="T4" fmla="*/ 31 w 61"/>
                <a:gd name="T5" fmla="*/ 1 h 1"/>
                <a:gd name="T6" fmla="*/ 52 w 61"/>
                <a:gd name="T7" fmla="*/ 1 h 1"/>
                <a:gd name="T8" fmla="*/ 61 w 61"/>
                <a:gd name="T9" fmla="*/ 0 h 1"/>
                <a:gd name="T10" fmla="*/ 52 w 61"/>
                <a:gd name="T11" fmla="*/ 0 h 1"/>
                <a:gd name="T12" fmla="*/ 31 w 61"/>
                <a:gd name="T13" fmla="*/ 0 h 1"/>
                <a:gd name="T14" fmla="*/ 9 w 61"/>
                <a:gd name="T15" fmla="*/ 0 h 1"/>
                <a:gd name="T16" fmla="*/ 0 w 61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">
                  <a:moveTo>
                    <a:pt x="0" y="1"/>
                  </a:moveTo>
                  <a:cubicBezTo>
                    <a:pt x="0" y="1"/>
                    <a:pt x="4" y="1"/>
                    <a:pt x="9" y="1"/>
                  </a:cubicBezTo>
                  <a:cubicBezTo>
                    <a:pt x="15" y="1"/>
                    <a:pt x="22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1" y="0"/>
                    <a:pt x="61" y="0"/>
                  </a:cubicBezTo>
                  <a:cubicBezTo>
                    <a:pt x="61" y="0"/>
                    <a:pt x="57" y="0"/>
                    <a:pt x="52" y="0"/>
                  </a:cubicBezTo>
                  <a:cubicBezTo>
                    <a:pt x="46" y="0"/>
                    <a:pt x="39" y="0"/>
                    <a:pt x="31" y="0"/>
                  </a:cubicBezTo>
                  <a:cubicBezTo>
                    <a:pt x="23" y="0"/>
                    <a:pt x="15" y="0"/>
                    <a:pt x="9" y="0"/>
                  </a:cubicBezTo>
                  <a:cubicBezTo>
                    <a:pt x="4" y="1"/>
                    <a:pt x="0" y="1"/>
                    <a:pt x="0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0">
              <a:extLst>
                <a:ext uri="{FF2B5EF4-FFF2-40B4-BE49-F238E27FC236}">
                  <a16:creationId xmlns:a16="http://schemas.microsoft.com/office/drawing/2014/main" id="{24E5F221-51E6-44F6-A98A-1BCE8BCBB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" y="4299"/>
              <a:ext cx="7" cy="62"/>
            </a:xfrm>
            <a:custGeom>
              <a:avLst/>
              <a:gdLst>
                <a:gd name="T0" fmla="*/ 1 w 3"/>
                <a:gd name="T1" fmla="*/ 0 h 26"/>
                <a:gd name="T2" fmla="*/ 0 w 3"/>
                <a:gd name="T3" fmla="*/ 13 h 26"/>
                <a:gd name="T4" fmla="*/ 2 w 3"/>
                <a:gd name="T5" fmla="*/ 26 h 26"/>
                <a:gd name="T6" fmla="*/ 2 w 3"/>
                <a:gd name="T7" fmla="*/ 13 h 26"/>
                <a:gd name="T8" fmla="*/ 1 w 3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6">
                  <a:moveTo>
                    <a:pt x="1" y="0"/>
                  </a:moveTo>
                  <a:cubicBezTo>
                    <a:pt x="0" y="0"/>
                    <a:pt x="0" y="6"/>
                    <a:pt x="0" y="13"/>
                  </a:cubicBezTo>
                  <a:cubicBezTo>
                    <a:pt x="1" y="20"/>
                    <a:pt x="2" y="26"/>
                    <a:pt x="2" y="26"/>
                  </a:cubicBezTo>
                  <a:cubicBezTo>
                    <a:pt x="3" y="26"/>
                    <a:pt x="3" y="20"/>
                    <a:pt x="2" y="13"/>
                  </a:cubicBezTo>
                  <a:cubicBezTo>
                    <a:pt x="2" y="6"/>
                    <a:pt x="1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1">
              <a:extLst>
                <a:ext uri="{FF2B5EF4-FFF2-40B4-BE49-F238E27FC236}">
                  <a16:creationId xmlns:a16="http://schemas.microsoft.com/office/drawing/2014/main" id="{857BDD04-D851-40BC-9993-4C48DB881B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" y="4361"/>
              <a:ext cx="3" cy="14"/>
            </a:xfrm>
            <a:custGeom>
              <a:avLst/>
              <a:gdLst>
                <a:gd name="T0" fmla="*/ 0 w 1"/>
                <a:gd name="T1" fmla="*/ 1 h 6"/>
                <a:gd name="T2" fmla="*/ 1 w 1"/>
                <a:gd name="T3" fmla="*/ 6 h 6"/>
                <a:gd name="T4" fmla="*/ 1 w 1"/>
                <a:gd name="T5" fmla="*/ 6 h 6"/>
                <a:gd name="T6" fmla="*/ 1 w 1"/>
                <a:gd name="T7" fmla="*/ 1 h 6"/>
                <a:gd name="T8" fmla="*/ 0 w 1"/>
                <a:gd name="T9" fmla="*/ 1 h 6"/>
                <a:gd name="T10" fmla="*/ 0 w 1"/>
                <a:gd name="T11" fmla="*/ 0 h 6"/>
                <a:gd name="T12" fmla="*/ 0 w 1"/>
                <a:gd name="T13" fmla="*/ 1 h 6"/>
                <a:gd name="T14" fmla="*/ 1 w 1"/>
                <a:gd name="T15" fmla="*/ 1 h 6"/>
                <a:gd name="T16" fmla="*/ 1 w 1"/>
                <a:gd name="T17" fmla="*/ 0 h 6"/>
                <a:gd name="T18" fmla="*/ 0 w 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6">
                  <a:moveTo>
                    <a:pt x="0" y="1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2">
              <a:extLst>
                <a:ext uri="{FF2B5EF4-FFF2-40B4-BE49-F238E27FC236}">
                  <a16:creationId xmlns:a16="http://schemas.microsoft.com/office/drawing/2014/main" id="{1DFE6EAA-D2CB-428A-B450-43D1E819F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3">
              <a:extLst>
                <a:ext uri="{FF2B5EF4-FFF2-40B4-BE49-F238E27FC236}">
                  <a16:creationId xmlns:a16="http://schemas.microsoft.com/office/drawing/2014/main" id="{26D778DC-43D8-4EF6-A3C9-50F95F99F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" y="4378"/>
              <a:ext cx="76" cy="2"/>
            </a:xfrm>
            <a:custGeom>
              <a:avLst/>
              <a:gdLst>
                <a:gd name="T0" fmla="*/ 0 w 76"/>
                <a:gd name="T1" fmla="*/ 0 h 2"/>
                <a:gd name="T2" fmla="*/ 76 w 76"/>
                <a:gd name="T3" fmla="*/ 2 h 2"/>
                <a:gd name="T4" fmla="*/ 76 w 76"/>
                <a:gd name="T5" fmla="*/ 0 h 2"/>
                <a:gd name="T6" fmla="*/ 0 w 7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2">
                  <a:moveTo>
                    <a:pt x="0" y="0"/>
                  </a:moveTo>
                  <a:lnTo>
                    <a:pt x="76" y="2"/>
                  </a:lnTo>
                  <a:lnTo>
                    <a:pt x="7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4">
              <a:extLst>
                <a:ext uri="{FF2B5EF4-FFF2-40B4-BE49-F238E27FC236}">
                  <a16:creationId xmlns:a16="http://schemas.microsoft.com/office/drawing/2014/main" id="{CCF9A785-FF96-453C-9816-01F9869BB1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4" y="4361"/>
              <a:ext cx="149" cy="17"/>
            </a:xfrm>
            <a:custGeom>
              <a:avLst/>
              <a:gdLst>
                <a:gd name="T0" fmla="*/ 60 w 63"/>
                <a:gd name="T1" fmla="*/ 0 h 7"/>
                <a:gd name="T2" fmla="*/ 51 w 63"/>
                <a:gd name="T3" fmla="*/ 1 h 7"/>
                <a:gd name="T4" fmla="*/ 30 w 63"/>
                <a:gd name="T5" fmla="*/ 1 h 7"/>
                <a:gd name="T6" fmla="*/ 16 w 63"/>
                <a:gd name="T7" fmla="*/ 1 h 7"/>
                <a:gd name="T8" fmla="*/ 8 w 63"/>
                <a:gd name="T9" fmla="*/ 1 h 7"/>
                <a:gd name="T10" fmla="*/ 0 w 63"/>
                <a:gd name="T11" fmla="*/ 1 h 7"/>
                <a:gd name="T12" fmla="*/ 0 w 63"/>
                <a:gd name="T13" fmla="*/ 6 h 7"/>
                <a:gd name="T14" fmla="*/ 31 w 63"/>
                <a:gd name="T15" fmla="*/ 7 h 7"/>
                <a:gd name="T16" fmla="*/ 63 w 63"/>
                <a:gd name="T17" fmla="*/ 7 h 7"/>
                <a:gd name="T18" fmla="*/ 63 w 63"/>
                <a:gd name="T19" fmla="*/ 7 h 7"/>
                <a:gd name="T20" fmla="*/ 60 w 63"/>
                <a:gd name="T21" fmla="*/ 0 h 7"/>
                <a:gd name="T22" fmla="*/ 60 w 63"/>
                <a:gd name="T23" fmla="*/ 0 h 7"/>
                <a:gd name="T24" fmla="*/ 0 w 63"/>
                <a:gd name="T25" fmla="*/ 0 h 7"/>
                <a:gd name="T26" fmla="*/ 0 w 63"/>
                <a:gd name="T27" fmla="*/ 1 h 7"/>
                <a:gd name="T28" fmla="*/ 8 w 63"/>
                <a:gd name="T29" fmla="*/ 0 h 7"/>
                <a:gd name="T30" fmla="*/ 25 w 63"/>
                <a:gd name="T31" fmla="*/ 0 h 7"/>
                <a:gd name="T32" fmla="*/ 0 w 63"/>
                <a:gd name="T3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7">
                  <a:moveTo>
                    <a:pt x="60" y="0"/>
                  </a:moveTo>
                  <a:cubicBezTo>
                    <a:pt x="59" y="1"/>
                    <a:pt x="56" y="1"/>
                    <a:pt x="51" y="1"/>
                  </a:cubicBezTo>
                  <a:cubicBezTo>
                    <a:pt x="45" y="1"/>
                    <a:pt x="38" y="1"/>
                    <a:pt x="30" y="1"/>
                  </a:cubicBezTo>
                  <a:cubicBezTo>
                    <a:pt x="25" y="1"/>
                    <a:pt x="20" y="1"/>
                    <a:pt x="16" y="1"/>
                  </a:cubicBezTo>
                  <a:cubicBezTo>
                    <a:pt x="13" y="1"/>
                    <a:pt x="10" y="1"/>
                    <a:pt x="8" y="1"/>
                  </a:cubicBezTo>
                  <a:cubicBezTo>
                    <a:pt x="4" y="1"/>
                    <a:pt x="1" y="1"/>
                    <a:pt x="0" y="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4" y="1"/>
                    <a:pt x="8" y="0"/>
                  </a:cubicBezTo>
                  <a:cubicBezTo>
                    <a:pt x="13" y="0"/>
                    <a:pt x="1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6B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5">
              <a:extLst>
                <a:ext uri="{FF2B5EF4-FFF2-40B4-BE49-F238E27FC236}">
                  <a16:creationId xmlns:a16="http://schemas.microsoft.com/office/drawing/2014/main" id="{92EDAB24-BCC7-482B-B595-2B3394F75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1" y="4361"/>
              <a:ext cx="145" cy="2"/>
            </a:xfrm>
            <a:custGeom>
              <a:avLst/>
              <a:gdLst>
                <a:gd name="T0" fmla="*/ 26 w 61"/>
                <a:gd name="T1" fmla="*/ 0 h 1"/>
                <a:gd name="T2" fmla="*/ 9 w 61"/>
                <a:gd name="T3" fmla="*/ 0 h 1"/>
                <a:gd name="T4" fmla="*/ 1 w 61"/>
                <a:gd name="T5" fmla="*/ 1 h 1"/>
                <a:gd name="T6" fmla="*/ 0 w 61"/>
                <a:gd name="T7" fmla="*/ 1 h 1"/>
                <a:gd name="T8" fmla="*/ 0 w 61"/>
                <a:gd name="T9" fmla="*/ 1 h 1"/>
                <a:gd name="T10" fmla="*/ 1 w 61"/>
                <a:gd name="T11" fmla="*/ 1 h 1"/>
                <a:gd name="T12" fmla="*/ 9 w 61"/>
                <a:gd name="T13" fmla="*/ 1 h 1"/>
                <a:gd name="T14" fmla="*/ 17 w 61"/>
                <a:gd name="T15" fmla="*/ 1 h 1"/>
                <a:gd name="T16" fmla="*/ 31 w 61"/>
                <a:gd name="T17" fmla="*/ 1 h 1"/>
                <a:gd name="T18" fmla="*/ 52 w 61"/>
                <a:gd name="T19" fmla="*/ 1 h 1"/>
                <a:gd name="T20" fmla="*/ 61 w 61"/>
                <a:gd name="T21" fmla="*/ 0 h 1"/>
                <a:gd name="T22" fmla="*/ 28 w 61"/>
                <a:gd name="T23" fmla="*/ 0 h 1"/>
                <a:gd name="T24" fmla="*/ 28 w 61"/>
                <a:gd name="T25" fmla="*/ 0 h 1"/>
                <a:gd name="T26" fmla="*/ 28 w 61"/>
                <a:gd name="T27" fmla="*/ 0 h 1"/>
                <a:gd name="T28" fmla="*/ 28 w 61"/>
                <a:gd name="T29" fmla="*/ 0 h 1"/>
                <a:gd name="T30" fmla="*/ 26 w 61"/>
                <a:gd name="T3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">
                  <a:moveTo>
                    <a:pt x="26" y="0"/>
                  </a:moveTo>
                  <a:cubicBezTo>
                    <a:pt x="20" y="0"/>
                    <a:pt x="14" y="0"/>
                    <a:pt x="9" y="0"/>
                  </a:cubicBezTo>
                  <a:cubicBezTo>
                    <a:pt x="5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5" y="1"/>
                    <a:pt x="9" y="1"/>
                  </a:cubicBezTo>
                  <a:cubicBezTo>
                    <a:pt x="11" y="1"/>
                    <a:pt x="14" y="1"/>
                    <a:pt x="17" y="1"/>
                  </a:cubicBezTo>
                  <a:cubicBezTo>
                    <a:pt x="21" y="1"/>
                    <a:pt x="26" y="1"/>
                    <a:pt x="31" y="1"/>
                  </a:cubicBezTo>
                  <a:cubicBezTo>
                    <a:pt x="39" y="1"/>
                    <a:pt x="46" y="1"/>
                    <a:pt x="52" y="1"/>
                  </a:cubicBezTo>
                  <a:cubicBezTo>
                    <a:pt x="57" y="1"/>
                    <a:pt x="60" y="1"/>
                    <a:pt x="61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16">
              <a:extLst>
                <a:ext uri="{FF2B5EF4-FFF2-40B4-BE49-F238E27FC236}">
                  <a16:creationId xmlns:a16="http://schemas.microsoft.com/office/drawing/2014/main" id="{D69B990F-E929-41C9-B3F8-906EBDE40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8" y="4361"/>
              <a:ext cx="1" cy="1"/>
            </a:xfrm>
            <a:prstGeom prst="ellipse">
              <a:avLst/>
            </a:prstGeom>
            <a:solidFill>
              <a:srgbClr val="A8AD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7">
              <a:extLst>
                <a:ext uri="{FF2B5EF4-FFF2-40B4-BE49-F238E27FC236}">
                  <a16:creationId xmlns:a16="http://schemas.microsoft.com/office/drawing/2014/main" id="{3346ED28-62AB-4C65-ACB7-07D989BFF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" y="2684"/>
              <a:ext cx="901" cy="1454"/>
            </a:xfrm>
            <a:custGeom>
              <a:avLst/>
              <a:gdLst>
                <a:gd name="T0" fmla="*/ 332 w 380"/>
                <a:gd name="T1" fmla="*/ 54 h 612"/>
                <a:gd name="T2" fmla="*/ 333 w 380"/>
                <a:gd name="T3" fmla="*/ 561 h 612"/>
                <a:gd name="T4" fmla="*/ 325 w 380"/>
                <a:gd name="T5" fmla="*/ 608 h 612"/>
                <a:gd name="T6" fmla="*/ 311 w 380"/>
                <a:gd name="T7" fmla="*/ 611 h 612"/>
                <a:gd name="T8" fmla="*/ 276 w 380"/>
                <a:gd name="T9" fmla="*/ 600 h 612"/>
                <a:gd name="T10" fmla="*/ 207 w 380"/>
                <a:gd name="T11" fmla="*/ 597 h 612"/>
                <a:gd name="T12" fmla="*/ 161 w 380"/>
                <a:gd name="T13" fmla="*/ 608 h 612"/>
                <a:gd name="T14" fmla="*/ 108 w 380"/>
                <a:gd name="T15" fmla="*/ 575 h 612"/>
                <a:gd name="T16" fmla="*/ 64 w 380"/>
                <a:gd name="T17" fmla="*/ 570 h 612"/>
                <a:gd name="T18" fmla="*/ 49 w 380"/>
                <a:gd name="T19" fmla="*/ 570 h 612"/>
                <a:gd name="T20" fmla="*/ 49 w 380"/>
                <a:gd name="T21" fmla="*/ 570 h 612"/>
                <a:gd name="T22" fmla="*/ 8 w 380"/>
                <a:gd name="T23" fmla="*/ 514 h 612"/>
                <a:gd name="T24" fmla="*/ 174 w 380"/>
                <a:gd name="T25" fmla="*/ 6 h 612"/>
                <a:gd name="T26" fmla="*/ 299 w 380"/>
                <a:gd name="T27" fmla="*/ 0 h 612"/>
                <a:gd name="T28" fmla="*/ 332 w 380"/>
                <a:gd name="T29" fmla="*/ 54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612">
                  <a:moveTo>
                    <a:pt x="332" y="54"/>
                  </a:moveTo>
                  <a:cubicBezTo>
                    <a:pt x="380" y="204"/>
                    <a:pt x="318" y="386"/>
                    <a:pt x="333" y="561"/>
                  </a:cubicBezTo>
                  <a:cubicBezTo>
                    <a:pt x="334" y="578"/>
                    <a:pt x="341" y="598"/>
                    <a:pt x="325" y="608"/>
                  </a:cubicBezTo>
                  <a:cubicBezTo>
                    <a:pt x="321" y="611"/>
                    <a:pt x="316" y="612"/>
                    <a:pt x="311" y="611"/>
                  </a:cubicBezTo>
                  <a:cubicBezTo>
                    <a:pt x="298" y="611"/>
                    <a:pt x="287" y="604"/>
                    <a:pt x="276" y="600"/>
                  </a:cubicBezTo>
                  <a:cubicBezTo>
                    <a:pt x="254" y="591"/>
                    <a:pt x="230" y="590"/>
                    <a:pt x="207" y="597"/>
                  </a:cubicBezTo>
                  <a:cubicBezTo>
                    <a:pt x="192" y="602"/>
                    <a:pt x="177" y="610"/>
                    <a:pt x="161" y="608"/>
                  </a:cubicBezTo>
                  <a:cubicBezTo>
                    <a:pt x="140" y="605"/>
                    <a:pt x="127" y="584"/>
                    <a:pt x="108" y="575"/>
                  </a:cubicBezTo>
                  <a:cubicBezTo>
                    <a:pt x="94" y="569"/>
                    <a:pt x="79" y="569"/>
                    <a:pt x="64" y="570"/>
                  </a:cubicBezTo>
                  <a:cubicBezTo>
                    <a:pt x="59" y="570"/>
                    <a:pt x="54" y="570"/>
                    <a:pt x="49" y="570"/>
                  </a:cubicBezTo>
                  <a:cubicBezTo>
                    <a:pt x="49" y="570"/>
                    <a:pt x="49" y="570"/>
                    <a:pt x="49" y="570"/>
                  </a:cubicBezTo>
                  <a:cubicBezTo>
                    <a:pt x="20" y="569"/>
                    <a:pt x="0" y="541"/>
                    <a:pt x="8" y="514"/>
                  </a:cubicBezTo>
                  <a:cubicBezTo>
                    <a:pt x="37" y="409"/>
                    <a:pt x="132" y="68"/>
                    <a:pt x="174" y="6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1" y="14"/>
                    <a:pt x="326" y="35"/>
                    <a:pt x="332" y="54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8">
              <a:extLst>
                <a:ext uri="{FF2B5EF4-FFF2-40B4-BE49-F238E27FC236}">
                  <a16:creationId xmlns:a16="http://schemas.microsoft.com/office/drawing/2014/main" id="{DF17BBD3-A993-45E1-905B-0A91860E6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2981"/>
              <a:ext cx="137" cy="112"/>
            </a:xfrm>
            <a:custGeom>
              <a:avLst/>
              <a:gdLst>
                <a:gd name="T0" fmla="*/ 58 w 58"/>
                <a:gd name="T1" fmla="*/ 0 h 47"/>
                <a:gd name="T2" fmla="*/ 51 w 58"/>
                <a:gd name="T3" fmla="*/ 8 h 47"/>
                <a:gd name="T4" fmla="*/ 33 w 58"/>
                <a:gd name="T5" fmla="*/ 27 h 47"/>
                <a:gd name="T6" fmla="*/ 11 w 58"/>
                <a:gd name="T7" fmla="*/ 43 h 47"/>
                <a:gd name="T8" fmla="*/ 1 w 58"/>
                <a:gd name="T9" fmla="*/ 47 h 47"/>
                <a:gd name="T10" fmla="*/ 31 w 58"/>
                <a:gd name="T11" fmla="*/ 26 h 47"/>
                <a:gd name="T12" fmla="*/ 50 w 58"/>
                <a:gd name="T13" fmla="*/ 7 h 47"/>
                <a:gd name="T14" fmla="*/ 58 w 58"/>
                <a:gd name="T1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58" y="0"/>
                  </a:moveTo>
                  <a:cubicBezTo>
                    <a:pt x="58" y="0"/>
                    <a:pt x="56" y="3"/>
                    <a:pt x="51" y="8"/>
                  </a:cubicBezTo>
                  <a:cubicBezTo>
                    <a:pt x="47" y="14"/>
                    <a:pt x="40" y="21"/>
                    <a:pt x="33" y="27"/>
                  </a:cubicBezTo>
                  <a:cubicBezTo>
                    <a:pt x="25" y="34"/>
                    <a:pt x="17" y="39"/>
                    <a:pt x="11" y="43"/>
                  </a:cubicBezTo>
                  <a:cubicBezTo>
                    <a:pt x="5" y="46"/>
                    <a:pt x="1" y="47"/>
                    <a:pt x="1" y="47"/>
                  </a:cubicBezTo>
                  <a:cubicBezTo>
                    <a:pt x="0" y="46"/>
                    <a:pt x="16" y="39"/>
                    <a:pt x="31" y="26"/>
                  </a:cubicBezTo>
                  <a:cubicBezTo>
                    <a:pt x="39" y="19"/>
                    <a:pt x="45" y="12"/>
                    <a:pt x="50" y="7"/>
                  </a:cubicBezTo>
                  <a:cubicBezTo>
                    <a:pt x="55" y="3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9">
              <a:extLst>
                <a:ext uri="{FF2B5EF4-FFF2-40B4-BE49-F238E27FC236}">
                  <a16:creationId xmlns:a16="http://schemas.microsoft.com/office/drawing/2014/main" id="{B38313D0-6F51-408C-9D64-3E037FA07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" y="3114"/>
              <a:ext cx="204" cy="846"/>
            </a:xfrm>
            <a:custGeom>
              <a:avLst/>
              <a:gdLst>
                <a:gd name="T0" fmla="*/ 86 w 86"/>
                <a:gd name="T1" fmla="*/ 0 h 356"/>
                <a:gd name="T2" fmla="*/ 65 w 86"/>
                <a:gd name="T3" fmla="*/ 54 h 356"/>
                <a:gd name="T4" fmla="*/ 17 w 86"/>
                <a:gd name="T5" fmla="*/ 317 h 356"/>
                <a:gd name="T6" fmla="*/ 32 w 86"/>
                <a:gd name="T7" fmla="*/ 350 h 356"/>
                <a:gd name="T8" fmla="*/ 49 w 86"/>
                <a:gd name="T9" fmla="*/ 356 h 356"/>
                <a:gd name="T10" fmla="*/ 65 w 86"/>
                <a:gd name="T11" fmla="*/ 348 h 356"/>
                <a:gd name="T12" fmla="*/ 65 w 86"/>
                <a:gd name="T13" fmla="*/ 321 h 356"/>
                <a:gd name="T14" fmla="*/ 86 w 86"/>
                <a:gd name="T15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356">
                  <a:moveTo>
                    <a:pt x="86" y="0"/>
                  </a:moveTo>
                  <a:cubicBezTo>
                    <a:pt x="65" y="54"/>
                    <a:pt x="65" y="54"/>
                    <a:pt x="65" y="54"/>
                  </a:cubicBezTo>
                  <a:cubicBezTo>
                    <a:pt x="31" y="138"/>
                    <a:pt x="0" y="228"/>
                    <a:pt x="17" y="317"/>
                  </a:cubicBezTo>
                  <a:cubicBezTo>
                    <a:pt x="20" y="329"/>
                    <a:pt x="23" y="342"/>
                    <a:pt x="32" y="350"/>
                  </a:cubicBezTo>
                  <a:cubicBezTo>
                    <a:pt x="37" y="354"/>
                    <a:pt x="43" y="356"/>
                    <a:pt x="49" y="356"/>
                  </a:cubicBezTo>
                  <a:cubicBezTo>
                    <a:pt x="55" y="356"/>
                    <a:pt x="61" y="354"/>
                    <a:pt x="65" y="348"/>
                  </a:cubicBezTo>
                  <a:cubicBezTo>
                    <a:pt x="70" y="341"/>
                    <a:pt x="68" y="330"/>
                    <a:pt x="65" y="321"/>
                  </a:cubicBezTo>
                  <a:cubicBezTo>
                    <a:pt x="39" y="215"/>
                    <a:pt x="47" y="102"/>
                    <a:pt x="86" y="0"/>
                  </a:cubicBezTo>
                </a:path>
              </a:pathLst>
            </a:custGeom>
            <a:solidFill>
              <a:srgbClr val="D048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220">
              <a:extLst>
                <a:ext uri="{FF2B5EF4-FFF2-40B4-BE49-F238E27FC236}">
                  <a16:creationId xmlns:a16="http://schemas.microsoft.com/office/drawing/2014/main" id="{C572541C-5A12-4E08-9CD3-A31001B39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8" y="3235"/>
              <a:ext cx="564" cy="26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1">
              <a:extLst>
                <a:ext uri="{FF2B5EF4-FFF2-40B4-BE49-F238E27FC236}">
                  <a16:creationId xmlns:a16="http://schemas.microsoft.com/office/drawing/2014/main" id="{49B411AC-8428-4866-B9F3-8A622F5EC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2865"/>
              <a:ext cx="539" cy="396"/>
            </a:xfrm>
            <a:custGeom>
              <a:avLst/>
              <a:gdLst>
                <a:gd name="T0" fmla="*/ 107 w 539"/>
                <a:gd name="T1" fmla="*/ 396 h 396"/>
                <a:gd name="T2" fmla="*/ 0 w 539"/>
                <a:gd name="T3" fmla="*/ 0 h 396"/>
                <a:gd name="T4" fmla="*/ 442 w 539"/>
                <a:gd name="T5" fmla="*/ 0 h 396"/>
                <a:gd name="T6" fmla="*/ 539 w 539"/>
                <a:gd name="T7" fmla="*/ 396 h 396"/>
                <a:gd name="T8" fmla="*/ 107 w 539"/>
                <a:gd name="T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9" h="396">
                  <a:moveTo>
                    <a:pt x="107" y="396"/>
                  </a:moveTo>
                  <a:lnTo>
                    <a:pt x="0" y="0"/>
                  </a:lnTo>
                  <a:lnTo>
                    <a:pt x="442" y="0"/>
                  </a:lnTo>
                  <a:lnTo>
                    <a:pt x="539" y="396"/>
                  </a:lnTo>
                  <a:lnTo>
                    <a:pt x="107" y="39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2">
              <a:extLst>
                <a:ext uri="{FF2B5EF4-FFF2-40B4-BE49-F238E27FC236}">
                  <a16:creationId xmlns:a16="http://schemas.microsoft.com/office/drawing/2014/main" id="{9CC1C931-111E-43A2-AC26-B9E9F93CF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87" cy="349"/>
            </a:xfrm>
            <a:custGeom>
              <a:avLst/>
              <a:gdLst>
                <a:gd name="T0" fmla="*/ 487 w 487"/>
                <a:gd name="T1" fmla="*/ 349 h 349"/>
                <a:gd name="T2" fmla="*/ 90 w 487"/>
                <a:gd name="T3" fmla="*/ 349 h 349"/>
                <a:gd name="T4" fmla="*/ 0 w 487"/>
                <a:gd name="T5" fmla="*/ 0 h 349"/>
                <a:gd name="T6" fmla="*/ 397 w 487"/>
                <a:gd name="T7" fmla="*/ 0 h 349"/>
                <a:gd name="T8" fmla="*/ 487 w 487"/>
                <a:gd name="T9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7" h="349">
                  <a:moveTo>
                    <a:pt x="487" y="349"/>
                  </a:moveTo>
                  <a:lnTo>
                    <a:pt x="90" y="349"/>
                  </a:lnTo>
                  <a:lnTo>
                    <a:pt x="0" y="0"/>
                  </a:lnTo>
                  <a:lnTo>
                    <a:pt x="397" y="0"/>
                  </a:lnTo>
                  <a:lnTo>
                    <a:pt x="487" y="349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3">
              <a:extLst>
                <a:ext uri="{FF2B5EF4-FFF2-40B4-BE49-F238E27FC236}">
                  <a16:creationId xmlns:a16="http://schemas.microsoft.com/office/drawing/2014/main" id="{D75C24E1-21CA-4FF7-9AE7-B44DA9D84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" y="2884"/>
              <a:ext cx="404" cy="24"/>
            </a:xfrm>
            <a:custGeom>
              <a:avLst/>
              <a:gdLst>
                <a:gd name="T0" fmla="*/ 2 w 170"/>
                <a:gd name="T1" fmla="*/ 10 h 10"/>
                <a:gd name="T2" fmla="*/ 170 w 170"/>
                <a:gd name="T3" fmla="*/ 10 h 10"/>
                <a:gd name="T4" fmla="*/ 167 w 170"/>
                <a:gd name="T5" fmla="*/ 0 h 10"/>
                <a:gd name="T6" fmla="*/ 0 w 170"/>
                <a:gd name="T7" fmla="*/ 0 h 10"/>
                <a:gd name="T8" fmla="*/ 2 w 17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0">
                  <a:moveTo>
                    <a:pt x="2" y="10"/>
                  </a:moveTo>
                  <a:cubicBezTo>
                    <a:pt x="59" y="10"/>
                    <a:pt x="113" y="10"/>
                    <a:pt x="170" y="1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Oval 224">
              <a:extLst>
                <a:ext uri="{FF2B5EF4-FFF2-40B4-BE49-F238E27FC236}">
                  <a16:creationId xmlns:a16="http://schemas.microsoft.com/office/drawing/2014/main" id="{27560818-E893-4358-8814-12B9E725D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2891"/>
              <a:ext cx="7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25">
              <a:extLst>
                <a:ext uri="{FF2B5EF4-FFF2-40B4-BE49-F238E27FC236}">
                  <a16:creationId xmlns:a16="http://schemas.microsoft.com/office/drawing/2014/main" id="{2481D2FE-BBDB-4F65-9603-8C95DAFEB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" y="2891"/>
              <a:ext cx="9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26">
              <a:extLst>
                <a:ext uri="{FF2B5EF4-FFF2-40B4-BE49-F238E27FC236}">
                  <a16:creationId xmlns:a16="http://schemas.microsoft.com/office/drawing/2014/main" id="{383FD7E2-9C3F-4233-AE6C-164AD9AA3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8" y="2891"/>
              <a:ext cx="10" cy="9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27">
              <a:extLst>
                <a:ext uri="{FF2B5EF4-FFF2-40B4-BE49-F238E27FC236}">
                  <a16:creationId xmlns:a16="http://schemas.microsoft.com/office/drawing/2014/main" id="{B510125C-D75F-44F6-944B-016E36C19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" y="2998"/>
              <a:ext cx="142" cy="114"/>
            </a:xfrm>
            <a:custGeom>
              <a:avLst/>
              <a:gdLst>
                <a:gd name="T0" fmla="*/ 30 w 60"/>
                <a:gd name="T1" fmla="*/ 27 h 48"/>
                <a:gd name="T2" fmla="*/ 48 w 60"/>
                <a:gd name="T3" fmla="*/ 48 h 48"/>
                <a:gd name="T4" fmla="*/ 60 w 60"/>
                <a:gd name="T5" fmla="*/ 27 h 48"/>
                <a:gd name="T6" fmla="*/ 30 w 60"/>
                <a:gd name="T7" fmla="*/ 0 h 48"/>
                <a:gd name="T8" fmla="*/ 1 w 60"/>
                <a:gd name="T9" fmla="*/ 27 h 48"/>
                <a:gd name="T10" fmla="*/ 30 w 60"/>
                <a:gd name="T1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48">
                  <a:moveTo>
                    <a:pt x="30" y="27"/>
                  </a:moveTo>
                  <a:cubicBezTo>
                    <a:pt x="48" y="48"/>
                    <a:pt x="48" y="48"/>
                    <a:pt x="48" y="48"/>
                  </a:cubicBezTo>
                  <a:cubicBezTo>
                    <a:pt x="56" y="43"/>
                    <a:pt x="60" y="35"/>
                    <a:pt x="60" y="27"/>
                  </a:cubicBezTo>
                  <a:cubicBezTo>
                    <a:pt x="60" y="12"/>
                    <a:pt x="46" y="0"/>
                    <a:pt x="30" y="0"/>
                  </a:cubicBezTo>
                  <a:cubicBezTo>
                    <a:pt x="14" y="0"/>
                    <a:pt x="0" y="12"/>
                    <a:pt x="1" y="27"/>
                  </a:cubicBezTo>
                  <a:lnTo>
                    <a:pt x="30" y="27"/>
                  </a:ln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28">
              <a:extLst>
                <a:ext uri="{FF2B5EF4-FFF2-40B4-BE49-F238E27FC236}">
                  <a16:creationId xmlns:a16="http://schemas.microsoft.com/office/drawing/2014/main" id="{B1E39E70-E4E4-4972-BD22-6AA90D374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3069"/>
              <a:ext cx="116" cy="69"/>
            </a:xfrm>
            <a:custGeom>
              <a:avLst/>
              <a:gdLst>
                <a:gd name="T0" fmla="*/ 30 w 49"/>
                <a:gd name="T1" fmla="*/ 0 h 29"/>
                <a:gd name="T2" fmla="*/ 35 w 49"/>
                <a:gd name="T3" fmla="*/ 5 h 29"/>
                <a:gd name="T4" fmla="*/ 49 w 49"/>
                <a:gd name="T5" fmla="*/ 20 h 29"/>
                <a:gd name="T6" fmla="*/ 49 w 49"/>
                <a:gd name="T7" fmla="*/ 21 h 29"/>
                <a:gd name="T8" fmla="*/ 48 w 49"/>
                <a:gd name="T9" fmla="*/ 21 h 29"/>
                <a:gd name="T10" fmla="*/ 18 w 49"/>
                <a:gd name="T11" fmla="*/ 25 h 29"/>
                <a:gd name="T12" fmla="*/ 5 w 49"/>
                <a:gd name="T13" fmla="*/ 14 h 29"/>
                <a:gd name="T14" fmla="*/ 0 w 49"/>
                <a:gd name="T15" fmla="*/ 1 h 29"/>
                <a:gd name="T16" fmla="*/ 0 w 49"/>
                <a:gd name="T17" fmla="*/ 0 h 29"/>
                <a:gd name="T18" fmla="*/ 1 w 49"/>
                <a:gd name="T19" fmla="*/ 0 h 29"/>
                <a:gd name="T20" fmla="*/ 22 w 49"/>
                <a:gd name="T21" fmla="*/ 0 h 29"/>
                <a:gd name="T22" fmla="*/ 30 w 49"/>
                <a:gd name="T23" fmla="*/ 0 h 29"/>
                <a:gd name="T24" fmla="*/ 22 w 49"/>
                <a:gd name="T25" fmla="*/ 1 h 29"/>
                <a:gd name="T26" fmla="*/ 1 w 49"/>
                <a:gd name="T27" fmla="*/ 1 h 29"/>
                <a:gd name="T28" fmla="*/ 2 w 49"/>
                <a:gd name="T29" fmla="*/ 0 h 29"/>
                <a:gd name="T30" fmla="*/ 6 w 49"/>
                <a:gd name="T31" fmla="*/ 13 h 29"/>
                <a:gd name="T32" fmla="*/ 18 w 49"/>
                <a:gd name="T33" fmla="*/ 23 h 29"/>
                <a:gd name="T34" fmla="*/ 47 w 49"/>
                <a:gd name="T35" fmla="*/ 20 h 29"/>
                <a:gd name="T36" fmla="*/ 47 w 49"/>
                <a:gd name="T37" fmla="*/ 21 h 29"/>
                <a:gd name="T38" fmla="*/ 34 w 49"/>
                <a:gd name="T39" fmla="*/ 6 h 29"/>
                <a:gd name="T40" fmla="*/ 30 w 4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29">
                  <a:moveTo>
                    <a:pt x="30" y="0"/>
                  </a:moveTo>
                  <a:cubicBezTo>
                    <a:pt x="30" y="0"/>
                    <a:pt x="32" y="2"/>
                    <a:pt x="35" y="5"/>
                  </a:cubicBezTo>
                  <a:cubicBezTo>
                    <a:pt x="38" y="9"/>
                    <a:pt x="43" y="14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1" y="27"/>
                    <a:pt x="29" y="29"/>
                    <a:pt x="18" y="25"/>
                  </a:cubicBezTo>
                  <a:cubicBezTo>
                    <a:pt x="12" y="22"/>
                    <a:pt x="8" y="19"/>
                    <a:pt x="5" y="14"/>
                  </a:cubicBezTo>
                  <a:cubicBezTo>
                    <a:pt x="2" y="10"/>
                    <a:pt x="0" y="5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7" y="0"/>
                    <a:pt x="22" y="0"/>
                  </a:cubicBezTo>
                  <a:cubicBezTo>
                    <a:pt x="27" y="0"/>
                    <a:pt x="30" y="0"/>
                    <a:pt x="30" y="0"/>
                  </a:cubicBezTo>
                  <a:cubicBezTo>
                    <a:pt x="30" y="0"/>
                    <a:pt x="27" y="0"/>
                    <a:pt x="22" y="1"/>
                  </a:cubicBezTo>
                  <a:cubicBezTo>
                    <a:pt x="17" y="1"/>
                    <a:pt x="10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5"/>
                    <a:pt x="4" y="9"/>
                    <a:pt x="6" y="13"/>
                  </a:cubicBezTo>
                  <a:cubicBezTo>
                    <a:pt x="9" y="17"/>
                    <a:pt x="13" y="21"/>
                    <a:pt x="18" y="23"/>
                  </a:cubicBezTo>
                  <a:cubicBezTo>
                    <a:pt x="29" y="27"/>
                    <a:pt x="40" y="25"/>
                    <a:pt x="47" y="20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2" y="15"/>
                    <a:pt x="38" y="10"/>
                    <a:pt x="34" y="6"/>
                  </a:cubicBezTo>
                  <a:cubicBezTo>
                    <a:pt x="31" y="2"/>
                    <a:pt x="30" y="0"/>
                    <a:pt x="3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229">
              <a:extLst>
                <a:ext uri="{FF2B5EF4-FFF2-40B4-BE49-F238E27FC236}">
                  <a16:creationId xmlns:a16="http://schemas.microsoft.com/office/drawing/2014/main" id="{0D0E270E-A202-4D5B-9A2A-CF0AE4DEF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" y="3019"/>
              <a:ext cx="7" cy="1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0">
              <a:extLst>
                <a:ext uri="{FF2B5EF4-FFF2-40B4-BE49-F238E27FC236}">
                  <a16:creationId xmlns:a16="http://schemas.microsoft.com/office/drawing/2014/main" id="{5E37C119-F79D-42D8-B0CE-CF58EF7B6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" y="2993"/>
              <a:ext cx="84" cy="31"/>
            </a:xfrm>
            <a:custGeom>
              <a:avLst/>
              <a:gdLst>
                <a:gd name="T0" fmla="*/ 0 w 35"/>
                <a:gd name="T1" fmla="*/ 1 h 13"/>
                <a:gd name="T2" fmla="*/ 20 w 35"/>
                <a:gd name="T3" fmla="*/ 0 h 13"/>
                <a:gd name="T4" fmla="*/ 22 w 35"/>
                <a:gd name="T5" fmla="*/ 0 h 13"/>
                <a:gd name="T6" fmla="*/ 23 w 35"/>
                <a:gd name="T7" fmla="*/ 0 h 13"/>
                <a:gd name="T8" fmla="*/ 23 w 35"/>
                <a:gd name="T9" fmla="*/ 0 h 13"/>
                <a:gd name="T10" fmla="*/ 34 w 35"/>
                <a:gd name="T11" fmla="*/ 13 h 13"/>
                <a:gd name="T12" fmla="*/ 22 w 35"/>
                <a:gd name="T13" fmla="*/ 2 h 13"/>
                <a:gd name="T14" fmla="*/ 22 w 35"/>
                <a:gd name="T15" fmla="*/ 2 h 13"/>
                <a:gd name="T16" fmla="*/ 20 w 35"/>
                <a:gd name="T17" fmla="*/ 2 h 13"/>
                <a:gd name="T18" fmla="*/ 0 w 35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13">
                  <a:moveTo>
                    <a:pt x="0" y="1"/>
                  </a:moveTo>
                  <a:cubicBezTo>
                    <a:pt x="0" y="0"/>
                    <a:pt x="9" y="0"/>
                    <a:pt x="20" y="0"/>
                  </a:cubicBezTo>
                  <a:cubicBezTo>
                    <a:pt x="21" y="0"/>
                    <a:pt x="21" y="0"/>
                    <a:pt x="2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7"/>
                    <a:pt x="35" y="13"/>
                    <a:pt x="34" y="13"/>
                  </a:cubicBezTo>
                  <a:cubicBezTo>
                    <a:pt x="34" y="13"/>
                    <a:pt x="29" y="8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9" y="2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1">
              <a:extLst>
                <a:ext uri="{FF2B5EF4-FFF2-40B4-BE49-F238E27FC236}">
                  <a16:creationId xmlns:a16="http://schemas.microsoft.com/office/drawing/2014/main" id="{19FC623B-5D7F-4FBA-8F61-20BBE72B2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2972"/>
              <a:ext cx="116" cy="76"/>
            </a:xfrm>
            <a:custGeom>
              <a:avLst/>
              <a:gdLst>
                <a:gd name="T0" fmla="*/ 6 w 49"/>
                <a:gd name="T1" fmla="*/ 31 h 32"/>
                <a:gd name="T2" fmla="*/ 5 w 49"/>
                <a:gd name="T3" fmla="*/ 23 h 32"/>
                <a:gd name="T4" fmla="*/ 0 w 49"/>
                <a:gd name="T5" fmla="*/ 2 h 32"/>
                <a:gd name="T6" fmla="*/ 0 w 49"/>
                <a:gd name="T7" fmla="*/ 1 h 32"/>
                <a:gd name="T8" fmla="*/ 1 w 49"/>
                <a:gd name="T9" fmla="*/ 1 h 32"/>
                <a:gd name="T10" fmla="*/ 42 w 49"/>
                <a:gd name="T11" fmla="*/ 0 h 32"/>
                <a:gd name="T12" fmla="*/ 43 w 49"/>
                <a:gd name="T13" fmla="*/ 1 h 32"/>
                <a:gd name="T14" fmla="*/ 43 w 49"/>
                <a:gd name="T15" fmla="*/ 1 h 32"/>
                <a:gd name="T16" fmla="*/ 43 w 49"/>
                <a:gd name="T17" fmla="*/ 1 h 32"/>
                <a:gd name="T18" fmla="*/ 43 w 49"/>
                <a:gd name="T19" fmla="*/ 1 h 32"/>
                <a:gd name="T20" fmla="*/ 43 w 49"/>
                <a:gd name="T21" fmla="*/ 1 h 32"/>
                <a:gd name="T22" fmla="*/ 43 w 49"/>
                <a:gd name="T23" fmla="*/ 1 h 32"/>
                <a:gd name="T24" fmla="*/ 43 w 49"/>
                <a:gd name="T25" fmla="*/ 2 h 32"/>
                <a:gd name="T26" fmla="*/ 43 w 49"/>
                <a:gd name="T27" fmla="*/ 2 h 32"/>
                <a:gd name="T28" fmla="*/ 44 w 49"/>
                <a:gd name="T29" fmla="*/ 3 h 32"/>
                <a:gd name="T30" fmla="*/ 44 w 49"/>
                <a:gd name="T31" fmla="*/ 5 h 32"/>
                <a:gd name="T32" fmla="*/ 45 w 49"/>
                <a:gd name="T33" fmla="*/ 9 h 32"/>
                <a:gd name="T34" fmla="*/ 46 w 49"/>
                <a:gd name="T35" fmla="*/ 16 h 32"/>
                <a:gd name="T36" fmla="*/ 49 w 49"/>
                <a:gd name="T37" fmla="*/ 31 h 32"/>
                <a:gd name="T38" fmla="*/ 49 w 49"/>
                <a:gd name="T39" fmla="*/ 32 h 32"/>
                <a:gd name="T40" fmla="*/ 48 w 49"/>
                <a:gd name="T41" fmla="*/ 32 h 32"/>
                <a:gd name="T42" fmla="*/ 18 w 49"/>
                <a:gd name="T43" fmla="*/ 31 h 32"/>
                <a:gd name="T44" fmla="*/ 9 w 49"/>
                <a:gd name="T45" fmla="*/ 31 h 32"/>
                <a:gd name="T46" fmla="*/ 6 w 49"/>
                <a:gd name="T47" fmla="*/ 31 h 32"/>
                <a:gd name="T48" fmla="*/ 10 w 49"/>
                <a:gd name="T49" fmla="*/ 31 h 32"/>
                <a:gd name="T50" fmla="*/ 18 w 49"/>
                <a:gd name="T51" fmla="*/ 30 h 32"/>
                <a:gd name="T52" fmla="*/ 48 w 49"/>
                <a:gd name="T53" fmla="*/ 30 h 32"/>
                <a:gd name="T54" fmla="*/ 47 w 49"/>
                <a:gd name="T55" fmla="*/ 31 h 32"/>
                <a:gd name="T56" fmla="*/ 44 w 49"/>
                <a:gd name="T57" fmla="*/ 17 h 32"/>
                <a:gd name="T58" fmla="*/ 43 w 49"/>
                <a:gd name="T59" fmla="*/ 9 h 32"/>
                <a:gd name="T60" fmla="*/ 42 w 49"/>
                <a:gd name="T61" fmla="*/ 5 h 32"/>
                <a:gd name="T62" fmla="*/ 42 w 49"/>
                <a:gd name="T63" fmla="*/ 3 h 32"/>
                <a:gd name="T64" fmla="*/ 41 w 49"/>
                <a:gd name="T65" fmla="*/ 2 h 32"/>
                <a:gd name="T66" fmla="*/ 41 w 49"/>
                <a:gd name="T67" fmla="*/ 2 h 32"/>
                <a:gd name="T68" fmla="*/ 41 w 49"/>
                <a:gd name="T69" fmla="*/ 2 h 32"/>
                <a:gd name="T70" fmla="*/ 41 w 49"/>
                <a:gd name="T71" fmla="*/ 2 h 32"/>
                <a:gd name="T72" fmla="*/ 41 w 49"/>
                <a:gd name="T73" fmla="*/ 1 h 32"/>
                <a:gd name="T74" fmla="*/ 41 w 49"/>
                <a:gd name="T75" fmla="*/ 1 h 32"/>
                <a:gd name="T76" fmla="*/ 41 w 49"/>
                <a:gd name="T77" fmla="*/ 1 h 32"/>
                <a:gd name="T78" fmla="*/ 41 w 49"/>
                <a:gd name="T79" fmla="*/ 1 h 32"/>
                <a:gd name="T80" fmla="*/ 42 w 49"/>
                <a:gd name="T81" fmla="*/ 2 h 32"/>
                <a:gd name="T82" fmla="*/ 1 w 49"/>
                <a:gd name="T83" fmla="*/ 2 h 32"/>
                <a:gd name="T84" fmla="*/ 2 w 49"/>
                <a:gd name="T85" fmla="*/ 1 h 32"/>
                <a:gd name="T86" fmla="*/ 5 w 49"/>
                <a:gd name="T87" fmla="*/ 23 h 32"/>
                <a:gd name="T88" fmla="*/ 6 w 49"/>
                <a:gd name="T8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32">
                  <a:moveTo>
                    <a:pt x="6" y="31"/>
                  </a:moveTo>
                  <a:cubicBezTo>
                    <a:pt x="6" y="31"/>
                    <a:pt x="6" y="28"/>
                    <a:pt x="5" y="23"/>
                  </a:cubicBezTo>
                  <a:cubicBezTo>
                    <a:pt x="3" y="18"/>
                    <a:pt x="2" y="1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3" y="0"/>
                    <a:pt x="27" y="0"/>
                    <a:pt x="42" y="0"/>
                  </a:cubicBezTo>
                  <a:cubicBezTo>
                    <a:pt x="42" y="0"/>
                    <a:pt x="44" y="2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6"/>
                    <a:pt x="45" y="8"/>
                    <a:pt x="45" y="9"/>
                  </a:cubicBezTo>
                  <a:cubicBezTo>
                    <a:pt x="45" y="11"/>
                    <a:pt x="46" y="14"/>
                    <a:pt x="46" y="16"/>
                  </a:cubicBezTo>
                  <a:cubicBezTo>
                    <a:pt x="47" y="21"/>
                    <a:pt x="48" y="26"/>
                    <a:pt x="49" y="3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5" y="32"/>
                    <a:pt x="25" y="31"/>
                    <a:pt x="18" y="31"/>
                  </a:cubicBezTo>
                  <a:cubicBezTo>
                    <a:pt x="14" y="31"/>
                    <a:pt x="12" y="31"/>
                    <a:pt x="9" y="31"/>
                  </a:cubicBezTo>
                  <a:cubicBezTo>
                    <a:pt x="7" y="31"/>
                    <a:pt x="6" y="31"/>
                    <a:pt x="6" y="31"/>
                  </a:cubicBezTo>
                  <a:cubicBezTo>
                    <a:pt x="7" y="31"/>
                    <a:pt x="8" y="31"/>
                    <a:pt x="10" y="31"/>
                  </a:cubicBezTo>
                  <a:cubicBezTo>
                    <a:pt x="12" y="31"/>
                    <a:pt x="15" y="30"/>
                    <a:pt x="18" y="30"/>
                  </a:cubicBezTo>
                  <a:cubicBezTo>
                    <a:pt x="26" y="30"/>
                    <a:pt x="36" y="30"/>
                    <a:pt x="48" y="30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6"/>
                    <a:pt x="45" y="22"/>
                    <a:pt x="44" y="17"/>
                  </a:cubicBezTo>
                  <a:cubicBezTo>
                    <a:pt x="44" y="14"/>
                    <a:pt x="43" y="12"/>
                    <a:pt x="43" y="9"/>
                  </a:cubicBezTo>
                  <a:cubicBezTo>
                    <a:pt x="42" y="8"/>
                    <a:pt x="42" y="7"/>
                    <a:pt x="42" y="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0" y="1"/>
                    <a:pt x="42" y="2"/>
                    <a:pt x="42" y="2"/>
                  </a:cubicBezTo>
                  <a:cubicBezTo>
                    <a:pt x="27" y="2"/>
                    <a:pt x="13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0"/>
                    <a:pt x="4" y="17"/>
                    <a:pt x="5" y="23"/>
                  </a:cubicBezTo>
                  <a:cubicBezTo>
                    <a:pt x="6" y="28"/>
                    <a:pt x="7" y="31"/>
                    <a:pt x="6" y="3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232">
              <a:extLst>
                <a:ext uri="{FF2B5EF4-FFF2-40B4-BE49-F238E27FC236}">
                  <a16:creationId xmlns:a16="http://schemas.microsoft.com/office/drawing/2014/main" id="{9A7C9491-A158-4323-8462-43DC7DABF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3" y="3100"/>
              <a:ext cx="9" cy="7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233">
              <a:extLst>
                <a:ext uri="{FF2B5EF4-FFF2-40B4-BE49-F238E27FC236}">
                  <a16:creationId xmlns:a16="http://schemas.microsoft.com/office/drawing/2014/main" id="{138CF617-04BD-4020-B409-BBE6922980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6" y="3100"/>
              <a:ext cx="71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4">
              <a:extLst>
                <a:ext uri="{FF2B5EF4-FFF2-40B4-BE49-F238E27FC236}">
                  <a16:creationId xmlns:a16="http://schemas.microsoft.com/office/drawing/2014/main" id="{47DC7776-D972-4A64-A8D7-47BCD2CD5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3079"/>
              <a:ext cx="121" cy="57"/>
            </a:xfrm>
            <a:custGeom>
              <a:avLst/>
              <a:gdLst>
                <a:gd name="T0" fmla="*/ 7 w 51"/>
                <a:gd name="T1" fmla="*/ 23 h 24"/>
                <a:gd name="T2" fmla="*/ 5 w 51"/>
                <a:gd name="T3" fmla="*/ 18 h 24"/>
                <a:gd name="T4" fmla="*/ 0 w 51"/>
                <a:gd name="T5" fmla="*/ 2 h 24"/>
                <a:gd name="T6" fmla="*/ 0 w 51"/>
                <a:gd name="T7" fmla="*/ 1 h 24"/>
                <a:gd name="T8" fmla="*/ 1 w 51"/>
                <a:gd name="T9" fmla="*/ 1 h 24"/>
                <a:gd name="T10" fmla="*/ 44 w 51"/>
                <a:gd name="T11" fmla="*/ 1 h 24"/>
                <a:gd name="T12" fmla="*/ 45 w 51"/>
                <a:gd name="T13" fmla="*/ 1 h 24"/>
                <a:gd name="T14" fmla="*/ 45 w 51"/>
                <a:gd name="T15" fmla="*/ 1 h 24"/>
                <a:gd name="T16" fmla="*/ 45 w 51"/>
                <a:gd name="T17" fmla="*/ 1 h 24"/>
                <a:gd name="T18" fmla="*/ 45 w 51"/>
                <a:gd name="T19" fmla="*/ 1 h 24"/>
                <a:gd name="T20" fmla="*/ 45 w 51"/>
                <a:gd name="T21" fmla="*/ 1 h 24"/>
                <a:gd name="T22" fmla="*/ 45 w 51"/>
                <a:gd name="T23" fmla="*/ 1 h 24"/>
                <a:gd name="T24" fmla="*/ 45 w 51"/>
                <a:gd name="T25" fmla="*/ 2 h 24"/>
                <a:gd name="T26" fmla="*/ 45 w 51"/>
                <a:gd name="T27" fmla="*/ 2 h 24"/>
                <a:gd name="T28" fmla="*/ 45 w 51"/>
                <a:gd name="T29" fmla="*/ 3 h 24"/>
                <a:gd name="T30" fmla="*/ 45 w 51"/>
                <a:gd name="T31" fmla="*/ 4 h 24"/>
                <a:gd name="T32" fmla="*/ 46 w 51"/>
                <a:gd name="T33" fmla="*/ 7 h 24"/>
                <a:gd name="T34" fmla="*/ 48 w 51"/>
                <a:gd name="T35" fmla="*/ 13 h 24"/>
                <a:gd name="T36" fmla="*/ 50 w 51"/>
                <a:gd name="T37" fmla="*/ 23 h 24"/>
                <a:gd name="T38" fmla="*/ 51 w 51"/>
                <a:gd name="T39" fmla="*/ 24 h 24"/>
                <a:gd name="T40" fmla="*/ 49 w 51"/>
                <a:gd name="T41" fmla="*/ 24 h 24"/>
                <a:gd name="T42" fmla="*/ 18 w 51"/>
                <a:gd name="T43" fmla="*/ 24 h 24"/>
                <a:gd name="T44" fmla="*/ 10 w 51"/>
                <a:gd name="T45" fmla="*/ 24 h 24"/>
                <a:gd name="T46" fmla="*/ 7 w 51"/>
                <a:gd name="T47" fmla="*/ 23 h 24"/>
                <a:gd name="T48" fmla="*/ 10 w 51"/>
                <a:gd name="T49" fmla="*/ 23 h 24"/>
                <a:gd name="T50" fmla="*/ 19 w 51"/>
                <a:gd name="T51" fmla="*/ 23 h 24"/>
                <a:gd name="T52" fmla="*/ 49 w 51"/>
                <a:gd name="T53" fmla="*/ 22 h 24"/>
                <a:gd name="T54" fmla="*/ 48 w 51"/>
                <a:gd name="T55" fmla="*/ 23 h 24"/>
                <a:gd name="T56" fmla="*/ 46 w 51"/>
                <a:gd name="T57" fmla="*/ 13 h 24"/>
                <a:gd name="T58" fmla="*/ 44 w 51"/>
                <a:gd name="T59" fmla="*/ 7 h 24"/>
                <a:gd name="T60" fmla="*/ 43 w 51"/>
                <a:gd name="T61" fmla="*/ 5 h 24"/>
                <a:gd name="T62" fmla="*/ 43 w 51"/>
                <a:gd name="T63" fmla="*/ 3 h 24"/>
                <a:gd name="T64" fmla="*/ 43 w 51"/>
                <a:gd name="T65" fmla="*/ 3 h 24"/>
                <a:gd name="T66" fmla="*/ 43 w 51"/>
                <a:gd name="T67" fmla="*/ 2 h 24"/>
                <a:gd name="T68" fmla="*/ 43 w 51"/>
                <a:gd name="T69" fmla="*/ 2 h 24"/>
                <a:gd name="T70" fmla="*/ 43 w 51"/>
                <a:gd name="T71" fmla="*/ 2 h 24"/>
                <a:gd name="T72" fmla="*/ 43 w 51"/>
                <a:gd name="T73" fmla="*/ 2 h 24"/>
                <a:gd name="T74" fmla="*/ 43 w 51"/>
                <a:gd name="T75" fmla="*/ 2 h 24"/>
                <a:gd name="T76" fmla="*/ 43 w 51"/>
                <a:gd name="T77" fmla="*/ 2 h 24"/>
                <a:gd name="T78" fmla="*/ 43 w 51"/>
                <a:gd name="T79" fmla="*/ 2 h 24"/>
                <a:gd name="T80" fmla="*/ 44 w 51"/>
                <a:gd name="T81" fmla="*/ 3 h 24"/>
                <a:gd name="T82" fmla="*/ 1 w 51"/>
                <a:gd name="T83" fmla="*/ 3 h 24"/>
                <a:gd name="T84" fmla="*/ 2 w 51"/>
                <a:gd name="T85" fmla="*/ 2 h 24"/>
                <a:gd name="T86" fmla="*/ 5 w 51"/>
                <a:gd name="T87" fmla="*/ 17 h 24"/>
                <a:gd name="T88" fmla="*/ 7 w 51"/>
                <a:gd name="T89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" h="24">
                  <a:moveTo>
                    <a:pt x="7" y="23"/>
                  </a:moveTo>
                  <a:cubicBezTo>
                    <a:pt x="7" y="24"/>
                    <a:pt x="6" y="22"/>
                    <a:pt x="5" y="18"/>
                  </a:cubicBezTo>
                  <a:cubicBezTo>
                    <a:pt x="4" y="14"/>
                    <a:pt x="2" y="9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2" y="1"/>
                    <a:pt x="27" y="1"/>
                    <a:pt x="44" y="1"/>
                  </a:cubicBezTo>
                  <a:cubicBezTo>
                    <a:pt x="43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9"/>
                    <a:pt x="47" y="11"/>
                    <a:pt x="48" y="13"/>
                  </a:cubicBezTo>
                  <a:cubicBezTo>
                    <a:pt x="48" y="16"/>
                    <a:pt x="49" y="20"/>
                    <a:pt x="50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37" y="24"/>
                    <a:pt x="26" y="24"/>
                    <a:pt x="18" y="24"/>
                  </a:cubicBezTo>
                  <a:cubicBezTo>
                    <a:pt x="15" y="24"/>
                    <a:pt x="12" y="24"/>
                    <a:pt x="10" y="24"/>
                  </a:cubicBezTo>
                  <a:cubicBezTo>
                    <a:pt x="8" y="24"/>
                    <a:pt x="7" y="23"/>
                    <a:pt x="7" y="23"/>
                  </a:cubicBezTo>
                  <a:cubicBezTo>
                    <a:pt x="7" y="23"/>
                    <a:pt x="8" y="23"/>
                    <a:pt x="10" y="23"/>
                  </a:cubicBezTo>
                  <a:cubicBezTo>
                    <a:pt x="12" y="23"/>
                    <a:pt x="15" y="23"/>
                    <a:pt x="19" y="23"/>
                  </a:cubicBezTo>
                  <a:cubicBezTo>
                    <a:pt x="26" y="23"/>
                    <a:pt x="37" y="22"/>
                    <a:pt x="49" y="22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0"/>
                    <a:pt x="47" y="17"/>
                    <a:pt x="46" y="13"/>
                  </a:cubicBezTo>
                  <a:cubicBezTo>
                    <a:pt x="45" y="11"/>
                    <a:pt x="45" y="9"/>
                    <a:pt x="44" y="7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5" y="3"/>
                    <a:pt x="44" y="3"/>
                  </a:cubicBezTo>
                  <a:cubicBezTo>
                    <a:pt x="27" y="3"/>
                    <a:pt x="12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8"/>
                    <a:pt x="5" y="13"/>
                    <a:pt x="5" y="17"/>
                  </a:cubicBezTo>
                  <a:cubicBezTo>
                    <a:pt x="6" y="21"/>
                    <a:pt x="7" y="23"/>
                    <a:pt x="7" y="2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235">
              <a:extLst>
                <a:ext uri="{FF2B5EF4-FFF2-40B4-BE49-F238E27FC236}">
                  <a16:creationId xmlns:a16="http://schemas.microsoft.com/office/drawing/2014/main" id="{0AC085AF-6447-4CB8-9DC2-EC671989F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2993"/>
              <a:ext cx="66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236">
              <a:extLst>
                <a:ext uri="{FF2B5EF4-FFF2-40B4-BE49-F238E27FC236}">
                  <a16:creationId xmlns:a16="http://schemas.microsoft.com/office/drawing/2014/main" id="{7264DA96-CF62-4B7A-81B3-1087DAE5B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" y="3005"/>
              <a:ext cx="69" cy="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7">
              <a:extLst>
                <a:ext uri="{FF2B5EF4-FFF2-40B4-BE49-F238E27FC236}">
                  <a16:creationId xmlns:a16="http://schemas.microsoft.com/office/drawing/2014/main" id="{453F0B10-3348-4318-9C4D-F6FCC131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014"/>
              <a:ext cx="64" cy="8"/>
            </a:xfrm>
            <a:custGeom>
              <a:avLst/>
              <a:gdLst>
                <a:gd name="T0" fmla="*/ 0 w 27"/>
                <a:gd name="T1" fmla="*/ 2 h 3"/>
                <a:gd name="T2" fmla="*/ 14 w 27"/>
                <a:gd name="T3" fmla="*/ 0 h 3"/>
                <a:gd name="T4" fmla="*/ 27 w 27"/>
                <a:gd name="T5" fmla="*/ 1 h 3"/>
                <a:gd name="T6" fmla="*/ 14 w 27"/>
                <a:gd name="T7" fmla="*/ 3 h 3"/>
                <a:gd name="T8" fmla="*/ 0 w 27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3">
                  <a:moveTo>
                    <a:pt x="0" y="2"/>
                  </a:moveTo>
                  <a:cubicBezTo>
                    <a:pt x="0" y="1"/>
                    <a:pt x="6" y="0"/>
                    <a:pt x="14" y="0"/>
                  </a:cubicBezTo>
                  <a:cubicBezTo>
                    <a:pt x="21" y="0"/>
                    <a:pt x="27" y="1"/>
                    <a:pt x="27" y="1"/>
                  </a:cubicBezTo>
                  <a:cubicBezTo>
                    <a:pt x="27" y="2"/>
                    <a:pt x="21" y="2"/>
                    <a:pt x="14" y="3"/>
                  </a:cubicBezTo>
                  <a:cubicBezTo>
                    <a:pt x="6" y="3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8">
              <a:extLst>
                <a:ext uri="{FF2B5EF4-FFF2-40B4-BE49-F238E27FC236}">
                  <a16:creationId xmlns:a16="http://schemas.microsoft.com/office/drawing/2014/main" id="{63992CE1-0409-410E-A46F-0B33449FD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3" y="3100"/>
              <a:ext cx="64" cy="5"/>
            </a:xfrm>
            <a:custGeom>
              <a:avLst/>
              <a:gdLst>
                <a:gd name="T0" fmla="*/ 0 w 27"/>
                <a:gd name="T1" fmla="*/ 1 h 2"/>
                <a:gd name="T2" fmla="*/ 13 w 27"/>
                <a:gd name="T3" fmla="*/ 0 h 2"/>
                <a:gd name="T4" fmla="*/ 27 w 27"/>
                <a:gd name="T5" fmla="*/ 1 h 2"/>
                <a:gd name="T6" fmla="*/ 13 w 27"/>
                <a:gd name="T7" fmla="*/ 2 h 2"/>
                <a:gd name="T8" fmla="*/ 0 w 27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">
                  <a:moveTo>
                    <a:pt x="0" y="1"/>
                  </a:moveTo>
                  <a:cubicBezTo>
                    <a:pt x="0" y="0"/>
                    <a:pt x="6" y="0"/>
                    <a:pt x="13" y="0"/>
                  </a:cubicBezTo>
                  <a:cubicBezTo>
                    <a:pt x="21" y="0"/>
                    <a:pt x="27" y="0"/>
                    <a:pt x="27" y="1"/>
                  </a:cubicBezTo>
                  <a:cubicBezTo>
                    <a:pt x="27" y="1"/>
                    <a:pt x="21" y="2"/>
                    <a:pt x="13" y="2"/>
                  </a:cubicBezTo>
                  <a:cubicBezTo>
                    <a:pt x="6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9">
              <a:extLst>
                <a:ext uri="{FF2B5EF4-FFF2-40B4-BE49-F238E27FC236}">
                  <a16:creationId xmlns:a16="http://schemas.microsoft.com/office/drawing/2014/main" id="{47670A43-F7C2-4537-B924-D1A15591B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6" y="3112"/>
              <a:ext cx="54" cy="5"/>
            </a:xfrm>
            <a:custGeom>
              <a:avLst/>
              <a:gdLst>
                <a:gd name="T0" fmla="*/ 0 w 23"/>
                <a:gd name="T1" fmla="*/ 1 h 2"/>
                <a:gd name="T2" fmla="*/ 12 w 23"/>
                <a:gd name="T3" fmla="*/ 0 h 2"/>
                <a:gd name="T4" fmla="*/ 23 w 23"/>
                <a:gd name="T5" fmla="*/ 1 h 2"/>
                <a:gd name="T6" fmla="*/ 12 w 23"/>
                <a:gd name="T7" fmla="*/ 2 h 2"/>
                <a:gd name="T8" fmla="*/ 0 w 2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">
                  <a:moveTo>
                    <a:pt x="0" y="1"/>
                  </a:moveTo>
                  <a:cubicBezTo>
                    <a:pt x="0" y="1"/>
                    <a:pt x="5" y="0"/>
                    <a:pt x="12" y="0"/>
                  </a:cubicBezTo>
                  <a:cubicBezTo>
                    <a:pt x="18" y="0"/>
                    <a:pt x="23" y="0"/>
                    <a:pt x="23" y="1"/>
                  </a:cubicBezTo>
                  <a:cubicBezTo>
                    <a:pt x="23" y="2"/>
                    <a:pt x="18" y="2"/>
                    <a:pt x="12" y="2"/>
                  </a:cubicBezTo>
                  <a:cubicBezTo>
                    <a:pt x="5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F588D340-DF65-4C9F-A968-7892018D8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1">
              <a:extLst>
                <a:ext uri="{FF2B5EF4-FFF2-40B4-BE49-F238E27FC236}">
                  <a16:creationId xmlns:a16="http://schemas.microsoft.com/office/drawing/2014/main" id="{1F08DCAC-F0BE-4EAA-95BF-E7604A557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" y="3261"/>
              <a:ext cx="2259" cy="1110"/>
            </a:xfrm>
            <a:custGeom>
              <a:avLst/>
              <a:gdLst>
                <a:gd name="T0" fmla="*/ 0 w 2259"/>
                <a:gd name="T1" fmla="*/ 0 h 1110"/>
                <a:gd name="T2" fmla="*/ 0 w 2259"/>
                <a:gd name="T3" fmla="*/ 53 h 1110"/>
                <a:gd name="T4" fmla="*/ 33 w 2259"/>
                <a:gd name="T5" fmla="*/ 53 h 1110"/>
                <a:gd name="T6" fmla="*/ 33 w 2259"/>
                <a:gd name="T7" fmla="*/ 1110 h 1110"/>
                <a:gd name="T8" fmla="*/ 104 w 2259"/>
                <a:gd name="T9" fmla="*/ 1110 h 1110"/>
                <a:gd name="T10" fmla="*/ 104 w 2259"/>
                <a:gd name="T11" fmla="*/ 53 h 1110"/>
                <a:gd name="T12" fmla="*/ 474 w 2259"/>
                <a:gd name="T13" fmla="*/ 53 h 1110"/>
                <a:gd name="T14" fmla="*/ 474 w 2259"/>
                <a:gd name="T15" fmla="*/ 1110 h 1110"/>
                <a:gd name="T16" fmla="*/ 545 w 2259"/>
                <a:gd name="T17" fmla="*/ 1110 h 1110"/>
                <a:gd name="T18" fmla="*/ 545 w 2259"/>
                <a:gd name="T19" fmla="*/ 53 h 1110"/>
                <a:gd name="T20" fmla="*/ 2157 w 2259"/>
                <a:gd name="T21" fmla="*/ 53 h 1110"/>
                <a:gd name="T22" fmla="*/ 2157 w 2259"/>
                <a:gd name="T23" fmla="*/ 1110 h 1110"/>
                <a:gd name="T24" fmla="*/ 2228 w 2259"/>
                <a:gd name="T25" fmla="*/ 1110 h 1110"/>
                <a:gd name="T26" fmla="*/ 2228 w 2259"/>
                <a:gd name="T27" fmla="*/ 53 h 1110"/>
                <a:gd name="T28" fmla="*/ 2259 w 2259"/>
                <a:gd name="T29" fmla="*/ 53 h 1110"/>
                <a:gd name="T30" fmla="*/ 2259 w 2259"/>
                <a:gd name="T31" fmla="*/ 0 h 1110"/>
                <a:gd name="T32" fmla="*/ 0 w 2259"/>
                <a:gd name="T33" fmla="*/ 0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59" h="1110">
                  <a:moveTo>
                    <a:pt x="0" y="0"/>
                  </a:moveTo>
                  <a:lnTo>
                    <a:pt x="0" y="53"/>
                  </a:lnTo>
                  <a:lnTo>
                    <a:pt x="33" y="53"/>
                  </a:lnTo>
                  <a:lnTo>
                    <a:pt x="33" y="1110"/>
                  </a:lnTo>
                  <a:lnTo>
                    <a:pt x="104" y="1110"/>
                  </a:lnTo>
                  <a:lnTo>
                    <a:pt x="104" y="53"/>
                  </a:lnTo>
                  <a:lnTo>
                    <a:pt x="474" y="53"/>
                  </a:lnTo>
                  <a:lnTo>
                    <a:pt x="474" y="1110"/>
                  </a:lnTo>
                  <a:lnTo>
                    <a:pt x="545" y="1110"/>
                  </a:lnTo>
                  <a:lnTo>
                    <a:pt x="545" y="53"/>
                  </a:lnTo>
                  <a:lnTo>
                    <a:pt x="2157" y="53"/>
                  </a:lnTo>
                  <a:lnTo>
                    <a:pt x="2157" y="1110"/>
                  </a:lnTo>
                  <a:lnTo>
                    <a:pt x="2228" y="1110"/>
                  </a:lnTo>
                  <a:lnTo>
                    <a:pt x="2228" y="53"/>
                  </a:lnTo>
                  <a:lnTo>
                    <a:pt x="2259" y="53"/>
                  </a:lnTo>
                  <a:lnTo>
                    <a:pt x="2259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242">
              <a:extLst>
                <a:ext uri="{FF2B5EF4-FFF2-40B4-BE49-F238E27FC236}">
                  <a16:creationId xmlns:a16="http://schemas.microsoft.com/office/drawing/2014/main" id="{242A9780-1AD0-4106-AEDB-2F1E22FCD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7" y="3653"/>
              <a:ext cx="90" cy="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243">
              <a:extLst>
                <a:ext uri="{FF2B5EF4-FFF2-40B4-BE49-F238E27FC236}">
                  <a16:creationId xmlns:a16="http://schemas.microsoft.com/office/drawing/2014/main" id="{015CF0E1-EB6F-4637-ACFF-9428CF6B6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0" y="3663"/>
              <a:ext cx="5" cy="2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4">
              <a:extLst>
                <a:ext uri="{FF2B5EF4-FFF2-40B4-BE49-F238E27FC236}">
                  <a16:creationId xmlns:a16="http://schemas.microsoft.com/office/drawing/2014/main" id="{C3588DB9-C945-4388-A4D2-5DF05F732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8" y="2321"/>
              <a:ext cx="873" cy="577"/>
            </a:xfrm>
            <a:custGeom>
              <a:avLst/>
              <a:gdLst>
                <a:gd name="T0" fmla="*/ 169 w 368"/>
                <a:gd name="T1" fmla="*/ 170 h 243"/>
                <a:gd name="T2" fmla="*/ 59 w 368"/>
                <a:gd name="T3" fmla="*/ 58 h 243"/>
                <a:gd name="T4" fmla="*/ 57 w 368"/>
                <a:gd name="T5" fmla="*/ 46 h 243"/>
                <a:gd name="T6" fmla="*/ 55 w 368"/>
                <a:gd name="T7" fmla="*/ 39 h 243"/>
                <a:gd name="T8" fmla="*/ 55 w 368"/>
                <a:gd name="T9" fmla="*/ 29 h 243"/>
                <a:gd name="T10" fmla="*/ 59 w 368"/>
                <a:gd name="T11" fmla="*/ 17 h 243"/>
                <a:gd name="T12" fmla="*/ 55 w 368"/>
                <a:gd name="T13" fmla="*/ 11 h 243"/>
                <a:gd name="T14" fmla="*/ 45 w 368"/>
                <a:gd name="T15" fmla="*/ 33 h 243"/>
                <a:gd name="T16" fmla="*/ 30 w 368"/>
                <a:gd name="T17" fmla="*/ 24 h 243"/>
                <a:gd name="T18" fmla="*/ 10 w 368"/>
                <a:gd name="T19" fmla="*/ 0 h 243"/>
                <a:gd name="T20" fmla="*/ 10 w 368"/>
                <a:gd name="T21" fmla="*/ 10 h 243"/>
                <a:gd name="T22" fmla="*/ 21 w 368"/>
                <a:gd name="T23" fmla="*/ 35 h 243"/>
                <a:gd name="T24" fmla="*/ 21 w 368"/>
                <a:gd name="T25" fmla="*/ 35 h 243"/>
                <a:gd name="T26" fmla="*/ 6 w 368"/>
                <a:gd name="T27" fmla="*/ 43 h 243"/>
                <a:gd name="T28" fmla="*/ 3 w 368"/>
                <a:gd name="T29" fmla="*/ 59 h 243"/>
                <a:gd name="T30" fmla="*/ 20 w 368"/>
                <a:gd name="T31" fmla="*/ 78 h 243"/>
                <a:gd name="T32" fmla="*/ 24 w 368"/>
                <a:gd name="T33" fmla="*/ 81 h 243"/>
                <a:gd name="T34" fmla="*/ 140 w 368"/>
                <a:gd name="T35" fmla="*/ 224 h 243"/>
                <a:gd name="T36" fmla="*/ 353 w 368"/>
                <a:gd name="T37" fmla="*/ 243 h 243"/>
                <a:gd name="T38" fmla="*/ 368 w 368"/>
                <a:gd name="T39" fmla="*/ 188 h 243"/>
                <a:gd name="T40" fmla="*/ 169 w 368"/>
                <a:gd name="T41" fmla="*/ 17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8" h="243">
                  <a:moveTo>
                    <a:pt x="169" y="170"/>
                  </a:moveTo>
                  <a:cubicBezTo>
                    <a:pt x="59" y="58"/>
                    <a:pt x="59" y="58"/>
                    <a:pt x="59" y="58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4"/>
                    <a:pt x="56" y="41"/>
                    <a:pt x="55" y="39"/>
                  </a:cubicBezTo>
                  <a:cubicBezTo>
                    <a:pt x="55" y="35"/>
                    <a:pt x="55" y="32"/>
                    <a:pt x="55" y="29"/>
                  </a:cubicBezTo>
                  <a:cubicBezTo>
                    <a:pt x="56" y="25"/>
                    <a:pt x="57" y="20"/>
                    <a:pt x="59" y="17"/>
                  </a:cubicBezTo>
                  <a:cubicBezTo>
                    <a:pt x="61" y="14"/>
                    <a:pt x="58" y="10"/>
                    <a:pt x="55" y="11"/>
                  </a:cubicBezTo>
                  <a:cubicBezTo>
                    <a:pt x="52" y="13"/>
                    <a:pt x="46" y="21"/>
                    <a:pt x="45" y="33"/>
                  </a:cubicBezTo>
                  <a:cubicBezTo>
                    <a:pt x="44" y="46"/>
                    <a:pt x="34" y="29"/>
                    <a:pt x="30" y="24"/>
                  </a:cubicBezTo>
                  <a:cubicBezTo>
                    <a:pt x="26" y="18"/>
                    <a:pt x="13" y="1"/>
                    <a:pt x="10" y="0"/>
                  </a:cubicBezTo>
                  <a:cubicBezTo>
                    <a:pt x="7" y="0"/>
                    <a:pt x="6" y="4"/>
                    <a:pt x="10" y="10"/>
                  </a:cubicBezTo>
                  <a:cubicBezTo>
                    <a:pt x="14" y="16"/>
                    <a:pt x="24" y="34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5" y="34"/>
                    <a:pt x="9" y="37"/>
                    <a:pt x="6" y="43"/>
                  </a:cubicBezTo>
                  <a:cubicBezTo>
                    <a:pt x="3" y="48"/>
                    <a:pt x="0" y="56"/>
                    <a:pt x="3" y="59"/>
                  </a:cubicBezTo>
                  <a:cubicBezTo>
                    <a:pt x="7" y="66"/>
                    <a:pt x="20" y="78"/>
                    <a:pt x="20" y="78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119" y="219"/>
                    <a:pt x="140" y="224"/>
                  </a:cubicBezTo>
                  <a:cubicBezTo>
                    <a:pt x="153" y="227"/>
                    <a:pt x="353" y="243"/>
                    <a:pt x="353" y="243"/>
                  </a:cubicBezTo>
                  <a:cubicBezTo>
                    <a:pt x="368" y="188"/>
                    <a:pt x="368" y="188"/>
                    <a:pt x="368" y="188"/>
                  </a:cubicBezTo>
                  <a:lnTo>
                    <a:pt x="169" y="170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5">
              <a:extLst>
                <a:ext uri="{FF2B5EF4-FFF2-40B4-BE49-F238E27FC236}">
                  <a16:creationId xmlns:a16="http://schemas.microsoft.com/office/drawing/2014/main" id="{9BFEC7E6-4C98-4739-84BB-0017B4C3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6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8" y="15"/>
                    <a:pt x="17" y="13"/>
                    <a:pt x="16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46">
              <a:extLst>
                <a:ext uri="{FF2B5EF4-FFF2-40B4-BE49-F238E27FC236}">
                  <a16:creationId xmlns:a16="http://schemas.microsoft.com/office/drawing/2014/main" id="{792DFD43-8594-4566-AAC8-32F948B5C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2437"/>
              <a:ext cx="49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19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0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19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8"/>
                    <a:pt x="13" y="19"/>
                    <a:pt x="14" y="20"/>
                  </a:cubicBezTo>
                  <a:cubicBezTo>
                    <a:pt x="15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0" y="6"/>
                  </a:cubicBezTo>
                  <a:cubicBezTo>
                    <a:pt x="8" y="3"/>
                    <a:pt x="6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47">
              <a:extLst>
                <a:ext uri="{FF2B5EF4-FFF2-40B4-BE49-F238E27FC236}">
                  <a16:creationId xmlns:a16="http://schemas.microsoft.com/office/drawing/2014/main" id="{E672F887-B968-41C2-B124-382C5BE37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48" cy="50"/>
            </a:xfrm>
            <a:custGeom>
              <a:avLst/>
              <a:gdLst>
                <a:gd name="T0" fmla="*/ 0 w 20"/>
                <a:gd name="T1" fmla="*/ 8 h 21"/>
                <a:gd name="T2" fmla="*/ 10 w 20"/>
                <a:gd name="T3" fmla="*/ 18 h 21"/>
                <a:gd name="T4" fmla="*/ 14 w 20"/>
                <a:gd name="T5" fmla="*/ 21 h 21"/>
                <a:gd name="T6" fmla="*/ 18 w 20"/>
                <a:gd name="T7" fmla="*/ 20 h 21"/>
                <a:gd name="T8" fmla="*/ 19 w 20"/>
                <a:gd name="T9" fmla="*/ 16 h 21"/>
                <a:gd name="T10" fmla="*/ 17 w 20"/>
                <a:gd name="T11" fmla="*/ 12 h 21"/>
                <a:gd name="T12" fmla="*/ 7 w 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3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20" y="17"/>
                    <a:pt x="19" y="16"/>
                  </a:cubicBezTo>
                  <a:cubicBezTo>
                    <a:pt x="19" y="14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48">
              <a:extLst>
                <a:ext uri="{FF2B5EF4-FFF2-40B4-BE49-F238E27FC236}">
                  <a16:creationId xmlns:a16="http://schemas.microsoft.com/office/drawing/2014/main" id="{CEC6ACAE-4433-4C3F-B8F9-79838A4BD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" y="2421"/>
              <a:ext cx="50" cy="52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0 h 22"/>
                <a:gd name="T10" fmla="*/ 14 w 21"/>
                <a:gd name="T11" fmla="*/ 22 h 22"/>
                <a:gd name="T12" fmla="*/ 10 w 21"/>
                <a:gd name="T13" fmla="*/ 19 h 22"/>
                <a:gd name="T14" fmla="*/ 5 w 21"/>
                <a:gd name="T15" fmla="*/ 13 h 22"/>
                <a:gd name="T16" fmla="*/ 0 w 21"/>
                <a:gd name="T17" fmla="*/ 8 h 22"/>
                <a:gd name="T18" fmla="*/ 6 w 21"/>
                <a:gd name="T19" fmla="*/ 12 h 22"/>
                <a:gd name="T20" fmla="*/ 11 w 21"/>
                <a:gd name="T21" fmla="*/ 17 h 22"/>
                <a:gd name="T22" fmla="*/ 15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0"/>
                  </a:cubicBezTo>
                  <a:cubicBezTo>
                    <a:pt x="18" y="22"/>
                    <a:pt x="16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5" y="13"/>
                  </a:cubicBezTo>
                  <a:cubicBezTo>
                    <a:pt x="2" y="10"/>
                    <a:pt x="0" y="8"/>
                    <a:pt x="0" y="8"/>
                  </a:cubicBezTo>
                  <a:cubicBezTo>
                    <a:pt x="0" y="8"/>
                    <a:pt x="2" y="9"/>
                    <a:pt x="6" y="12"/>
                  </a:cubicBezTo>
                  <a:cubicBezTo>
                    <a:pt x="7" y="14"/>
                    <a:pt x="9" y="16"/>
                    <a:pt x="11" y="17"/>
                  </a:cubicBezTo>
                  <a:cubicBezTo>
                    <a:pt x="12" y="18"/>
                    <a:pt x="13" y="19"/>
                    <a:pt x="15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0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9">
              <a:extLst>
                <a:ext uri="{FF2B5EF4-FFF2-40B4-BE49-F238E27FC236}">
                  <a16:creationId xmlns:a16="http://schemas.microsoft.com/office/drawing/2014/main" id="{42408900-E2D0-4321-966F-00A13AD9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45" cy="50"/>
            </a:xfrm>
            <a:custGeom>
              <a:avLst/>
              <a:gdLst>
                <a:gd name="T0" fmla="*/ 0 w 19"/>
                <a:gd name="T1" fmla="*/ 8 h 21"/>
                <a:gd name="T2" fmla="*/ 10 w 19"/>
                <a:gd name="T3" fmla="*/ 18 h 21"/>
                <a:gd name="T4" fmla="*/ 14 w 19"/>
                <a:gd name="T5" fmla="*/ 21 h 21"/>
                <a:gd name="T6" fmla="*/ 18 w 19"/>
                <a:gd name="T7" fmla="*/ 20 h 21"/>
                <a:gd name="T8" fmla="*/ 19 w 19"/>
                <a:gd name="T9" fmla="*/ 16 h 21"/>
                <a:gd name="T10" fmla="*/ 17 w 19"/>
                <a:gd name="T11" fmla="*/ 12 h 21"/>
                <a:gd name="T12" fmla="*/ 7 w 1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1">
                  <a:moveTo>
                    <a:pt x="0" y="8"/>
                  </a:moveTo>
                  <a:cubicBezTo>
                    <a:pt x="3" y="11"/>
                    <a:pt x="7" y="15"/>
                    <a:pt x="10" y="18"/>
                  </a:cubicBezTo>
                  <a:cubicBezTo>
                    <a:pt x="11" y="19"/>
                    <a:pt x="12" y="20"/>
                    <a:pt x="14" y="21"/>
                  </a:cubicBezTo>
                  <a:cubicBezTo>
                    <a:pt x="15" y="21"/>
                    <a:pt x="17" y="21"/>
                    <a:pt x="18" y="20"/>
                  </a:cubicBezTo>
                  <a:cubicBezTo>
                    <a:pt x="19" y="19"/>
                    <a:pt x="19" y="17"/>
                    <a:pt x="19" y="16"/>
                  </a:cubicBezTo>
                  <a:cubicBezTo>
                    <a:pt x="19" y="15"/>
                    <a:pt x="18" y="13"/>
                    <a:pt x="17" y="12"/>
                  </a:cubicBezTo>
                  <a:cubicBezTo>
                    <a:pt x="13" y="8"/>
                    <a:pt x="10" y="4"/>
                    <a:pt x="7" y="0"/>
                  </a:cubicBezTo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50">
              <a:extLst>
                <a:ext uri="{FF2B5EF4-FFF2-40B4-BE49-F238E27FC236}">
                  <a16:creationId xmlns:a16="http://schemas.microsoft.com/office/drawing/2014/main" id="{47AB00BB-C695-4412-B13A-B3352FDF2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2406"/>
              <a:ext cx="50" cy="53"/>
            </a:xfrm>
            <a:custGeom>
              <a:avLst/>
              <a:gdLst>
                <a:gd name="T0" fmla="*/ 7 w 21"/>
                <a:gd name="T1" fmla="*/ 0 h 22"/>
                <a:gd name="T2" fmla="*/ 12 w 21"/>
                <a:gd name="T3" fmla="*/ 5 h 22"/>
                <a:gd name="T4" fmla="*/ 17 w 21"/>
                <a:gd name="T5" fmla="*/ 11 h 22"/>
                <a:gd name="T6" fmla="*/ 20 w 21"/>
                <a:gd name="T7" fmla="*/ 15 h 22"/>
                <a:gd name="T8" fmla="*/ 19 w 21"/>
                <a:gd name="T9" fmla="*/ 21 h 22"/>
                <a:gd name="T10" fmla="*/ 14 w 21"/>
                <a:gd name="T11" fmla="*/ 22 h 22"/>
                <a:gd name="T12" fmla="*/ 10 w 21"/>
                <a:gd name="T13" fmla="*/ 19 h 22"/>
                <a:gd name="T14" fmla="*/ 4 w 21"/>
                <a:gd name="T15" fmla="*/ 14 h 22"/>
                <a:gd name="T16" fmla="*/ 0 w 21"/>
                <a:gd name="T17" fmla="*/ 8 h 22"/>
                <a:gd name="T18" fmla="*/ 5 w 21"/>
                <a:gd name="T19" fmla="*/ 12 h 22"/>
                <a:gd name="T20" fmla="*/ 11 w 21"/>
                <a:gd name="T21" fmla="*/ 18 h 22"/>
                <a:gd name="T22" fmla="*/ 14 w 21"/>
                <a:gd name="T23" fmla="*/ 20 h 22"/>
                <a:gd name="T24" fmla="*/ 18 w 21"/>
                <a:gd name="T25" fmla="*/ 19 h 22"/>
                <a:gd name="T26" fmla="*/ 18 w 21"/>
                <a:gd name="T27" fmla="*/ 16 h 22"/>
                <a:gd name="T28" fmla="*/ 15 w 21"/>
                <a:gd name="T29" fmla="*/ 12 h 22"/>
                <a:gd name="T30" fmla="*/ 11 w 21"/>
                <a:gd name="T31" fmla="*/ 6 h 22"/>
                <a:gd name="T32" fmla="*/ 7 w 21"/>
                <a:gd name="T3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2">
                  <a:moveTo>
                    <a:pt x="7" y="0"/>
                  </a:moveTo>
                  <a:cubicBezTo>
                    <a:pt x="7" y="0"/>
                    <a:pt x="9" y="2"/>
                    <a:pt x="12" y="5"/>
                  </a:cubicBezTo>
                  <a:cubicBezTo>
                    <a:pt x="13" y="7"/>
                    <a:pt x="15" y="9"/>
                    <a:pt x="17" y="11"/>
                  </a:cubicBezTo>
                  <a:cubicBezTo>
                    <a:pt x="18" y="12"/>
                    <a:pt x="19" y="13"/>
                    <a:pt x="20" y="15"/>
                  </a:cubicBezTo>
                  <a:cubicBezTo>
                    <a:pt x="20" y="16"/>
                    <a:pt x="21" y="19"/>
                    <a:pt x="19" y="21"/>
                  </a:cubicBezTo>
                  <a:cubicBezTo>
                    <a:pt x="18" y="22"/>
                    <a:pt x="15" y="22"/>
                    <a:pt x="14" y="22"/>
                  </a:cubicBezTo>
                  <a:cubicBezTo>
                    <a:pt x="12" y="21"/>
                    <a:pt x="11" y="20"/>
                    <a:pt x="10" y="19"/>
                  </a:cubicBezTo>
                  <a:cubicBezTo>
                    <a:pt x="8" y="17"/>
                    <a:pt x="6" y="15"/>
                    <a:pt x="4" y="14"/>
                  </a:cubicBezTo>
                  <a:cubicBezTo>
                    <a:pt x="1" y="10"/>
                    <a:pt x="0" y="8"/>
                    <a:pt x="0" y="8"/>
                  </a:cubicBezTo>
                  <a:cubicBezTo>
                    <a:pt x="0" y="8"/>
                    <a:pt x="2" y="10"/>
                    <a:pt x="5" y="12"/>
                  </a:cubicBezTo>
                  <a:cubicBezTo>
                    <a:pt x="7" y="14"/>
                    <a:pt x="9" y="16"/>
                    <a:pt x="11" y="18"/>
                  </a:cubicBezTo>
                  <a:cubicBezTo>
                    <a:pt x="12" y="19"/>
                    <a:pt x="13" y="19"/>
                    <a:pt x="14" y="20"/>
                  </a:cubicBezTo>
                  <a:cubicBezTo>
                    <a:pt x="16" y="20"/>
                    <a:pt x="17" y="20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7" y="14"/>
                    <a:pt x="16" y="13"/>
                    <a:pt x="15" y="12"/>
                  </a:cubicBezTo>
                  <a:cubicBezTo>
                    <a:pt x="14" y="10"/>
                    <a:pt x="12" y="8"/>
                    <a:pt x="11" y="6"/>
                  </a:cubicBezTo>
                  <a:cubicBezTo>
                    <a:pt x="8" y="3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51">
              <a:extLst>
                <a:ext uri="{FF2B5EF4-FFF2-40B4-BE49-F238E27FC236}">
                  <a16:creationId xmlns:a16="http://schemas.microsoft.com/office/drawing/2014/main" id="{7FC00223-AB63-4B80-A827-B4145E44B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" y="2425"/>
              <a:ext cx="29" cy="48"/>
            </a:xfrm>
            <a:custGeom>
              <a:avLst/>
              <a:gdLst>
                <a:gd name="T0" fmla="*/ 0 w 12"/>
                <a:gd name="T1" fmla="*/ 17 h 20"/>
                <a:gd name="T2" fmla="*/ 6 w 12"/>
                <a:gd name="T3" fmla="*/ 17 h 20"/>
                <a:gd name="T4" fmla="*/ 5 w 12"/>
                <a:gd name="T5" fmla="*/ 18 h 20"/>
                <a:gd name="T6" fmla="*/ 5 w 12"/>
                <a:gd name="T7" fmla="*/ 11 h 20"/>
                <a:gd name="T8" fmla="*/ 9 w 12"/>
                <a:gd name="T9" fmla="*/ 3 h 20"/>
                <a:gd name="T10" fmla="*/ 12 w 12"/>
                <a:gd name="T11" fmla="*/ 0 h 20"/>
                <a:gd name="T12" fmla="*/ 7 w 12"/>
                <a:gd name="T13" fmla="*/ 12 h 20"/>
                <a:gd name="T14" fmla="*/ 7 w 12"/>
                <a:gd name="T15" fmla="*/ 18 h 20"/>
                <a:gd name="T16" fmla="*/ 7 w 12"/>
                <a:gd name="T17" fmla="*/ 20 h 20"/>
                <a:gd name="T18" fmla="*/ 6 w 12"/>
                <a:gd name="T19" fmla="*/ 19 h 20"/>
                <a:gd name="T20" fmla="*/ 0 w 12"/>
                <a:gd name="T2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0" y="17"/>
                  </a:moveTo>
                  <a:cubicBezTo>
                    <a:pt x="0" y="17"/>
                    <a:pt x="3" y="16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6"/>
                    <a:pt x="4" y="14"/>
                    <a:pt x="5" y="11"/>
                  </a:cubicBezTo>
                  <a:cubicBezTo>
                    <a:pt x="5" y="8"/>
                    <a:pt x="7" y="5"/>
                    <a:pt x="9" y="3"/>
                  </a:cubicBezTo>
                  <a:cubicBezTo>
                    <a:pt x="10" y="1"/>
                    <a:pt x="12" y="0"/>
                    <a:pt x="12" y="0"/>
                  </a:cubicBezTo>
                  <a:cubicBezTo>
                    <a:pt x="12" y="1"/>
                    <a:pt x="8" y="5"/>
                    <a:pt x="7" y="12"/>
                  </a:cubicBezTo>
                  <a:cubicBezTo>
                    <a:pt x="6" y="14"/>
                    <a:pt x="7" y="16"/>
                    <a:pt x="7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2" y="18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52">
              <a:extLst>
                <a:ext uri="{FF2B5EF4-FFF2-40B4-BE49-F238E27FC236}">
                  <a16:creationId xmlns:a16="http://schemas.microsoft.com/office/drawing/2014/main" id="{80B0393F-0D99-4CD0-98BC-6B68606B2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" y="2281"/>
              <a:ext cx="240" cy="418"/>
            </a:xfrm>
            <a:custGeom>
              <a:avLst/>
              <a:gdLst>
                <a:gd name="T0" fmla="*/ 101 w 101"/>
                <a:gd name="T1" fmla="*/ 19 h 176"/>
                <a:gd name="T2" fmla="*/ 101 w 101"/>
                <a:gd name="T3" fmla="*/ 173 h 176"/>
                <a:gd name="T4" fmla="*/ 41 w 101"/>
                <a:gd name="T5" fmla="*/ 176 h 176"/>
                <a:gd name="T6" fmla="*/ 39 w 101"/>
                <a:gd name="T7" fmla="*/ 139 h 176"/>
                <a:gd name="T8" fmla="*/ 4 w 101"/>
                <a:gd name="T9" fmla="*/ 122 h 176"/>
                <a:gd name="T10" fmla="*/ 1 w 101"/>
                <a:gd name="T11" fmla="*/ 0 h 176"/>
                <a:gd name="T12" fmla="*/ 101 w 101"/>
                <a:gd name="T13" fmla="*/ 1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76">
                  <a:moveTo>
                    <a:pt x="101" y="19"/>
                  </a:moveTo>
                  <a:cubicBezTo>
                    <a:pt x="101" y="173"/>
                    <a:pt x="101" y="173"/>
                    <a:pt x="101" y="173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9" y="139"/>
                    <a:pt x="10" y="143"/>
                    <a:pt x="4" y="122"/>
                  </a:cubicBezTo>
                  <a:cubicBezTo>
                    <a:pt x="0" y="108"/>
                    <a:pt x="1" y="0"/>
                    <a:pt x="1" y="0"/>
                  </a:cubicBezTo>
                  <a:lnTo>
                    <a:pt x="101" y="19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53">
              <a:extLst>
                <a:ext uri="{FF2B5EF4-FFF2-40B4-BE49-F238E27FC236}">
                  <a16:creationId xmlns:a16="http://schemas.microsoft.com/office/drawing/2014/main" id="{D47155B3-7694-4E96-804B-BA85260C2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5" y="2188"/>
              <a:ext cx="379" cy="423"/>
            </a:xfrm>
            <a:custGeom>
              <a:avLst/>
              <a:gdLst>
                <a:gd name="T0" fmla="*/ 15 w 160"/>
                <a:gd name="T1" fmla="*/ 55 h 178"/>
                <a:gd name="T2" fmla="*/ 41 w 160"/>
                <a:gd name="T3" fmla="*/ 81 h 178"/>
                <a:gd name="T4" fmla="*/ 50 w 160"/>
                <a:gd name="T5" fmla="*/ 106 h 178"/>
                <a:gd name="T6" fmla="*/ 72 w 160"/>
                <a:gd name="T7" fmla="*/ 115 h 178"/>
                <a:gd name="T8" fmla="*/ 60 w 160"/>
                <a:gd name="T9" fmla="*/ 127 h 178"/>
                <a:gd name="T10" fmla="*/ 84 w 160"/>
                <a:gd name="T11" fmla="*/ 163 h 178"/>
                <a:gd name="T12" fmla="*/ 116 w 160"/>
                <a:gd name="T13" fmla="*/ 178 h 178"/>
                <a:gd name="T14" fmla="*/ 130 w 160"/>
                <a:gd name="T15" fmla="*/ 178 h 178"/>
                <a:gd name="T16" fmla="*/ 154 w 160"/>
                <a:gd name="T17" fmla="*/ 89 h 178"/>
                <a:gd name="T18" fmla="*/ 76 w 160"/>
                <a:gd name="T19" fmla="*/ 27 h 178"/>
                <a:gd name="T20" fmla="*/ 15 w 160"/>
                <a:gd name="T21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78">
                  <a:moveTo>
                    <a:pt x="15" y="55"/>
                  </a:moveTo>
                  <a:cubicBezTo>
                    <a:pt x="20" y="64"/>
                    <a:pt x="41" y="81"/>
                    <a:pt x="41" y="81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9" y="100"/>
                    <a:pt x="70" y="100"/>
                    <a:pt x="72" y="115"/>
                  </a:cubicBezTo>
                  <a:cubicBezTo>
                    <a:pt x="73" y="125"/>
                    <a:pt x="60" y="127"/>
                    <a:pt x="60" y="127"/>
                  </a:cubicBezTo>
                  <a:cubicBezTo>
                    <a:pt x="68" y="140"/>
                    <a:pt x="73" y="151"/>
                    <a:pt x="84" y="163"/>
                  </a:cubicBezTo>
                  <a:cubicBezTo>
                    <a:pt x="96" y="176"/>
                    <a:pt x="103" y="178"/>
                    <a:pt x="11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0" y="178"/>
                    <a:pt x="160" y="153"/>
                    <a:pt x="154" y="89"/>
                  </a:cubicBezTo>
                  <a:cubicBezTo>
                    <a:pt x="148" y="24"/>
                    <a:pt x="90" y="43"/>
                    <a:pt x="76" y="27"/>
                  </a:cubicBezTo>
                  <a:cubicBezTo>
                    <a:pt x="53" y="0"/>
                    <a:pt x="0" y="24"/>
                    <a:pt x="15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54">
              <a:extLst>
                <a:ext uri="{FF2B5EF4-FFF2-40B4-BE49-F238E27FC236}">
                  <a16:creationId xmlns:a16="http://schemas.microsoft.com/office/drawing/2014/main" id="{25F9CE15-FDAC-4A9B-BAFF-1FB3CD02B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2283"/>
              <a:ext cx="323" cy="245"/>
            </a:xfrm>
            <a:custGeom>
              <a:avLst/>
              <a:gdLst>
                <a:gd name="T0" fmla="*/ 136 w 136"/>
                <a:gd name="T1" fmla="*/ 103 h 103"/>
                <a:gd name="T2" fmla="*/ 128 w 136"/>
                <a:gd name="T3" fmla="*/ 102 h 103"/>
                <a:gd name="T4" fmla="*/ 111 w 136"/>
                <a:gd name="T5" fmla="*/ 94 h 103"/>
                <a:gd name="T6" fmla="*/ 94 w 136"/>
                <a:gd name="T7" fmla="*/ 71 h 103"/>
                <a:gd name="T8" fmla="*/ 72 w 136"/>
                <a:gd name="T9" fmla="*/ 44 h 103"/>
                <a:gd name="T10" fmla="*/ 39 w 136"/>
                <a:gd name="T11" fmla="*/ 33 h 103"/>
                <a:gd name="T12" fmla="*/ 12 w 136"/>
                <a:gd name="T13" fmla="*/ 23 h 103"/>
                <a:gd name="T14" fmla="*/ 1 w 136"/>
                <a:gd name="T15" fmla="*/ 7 h 103"/>
                <a:gd name="T16" fmla="*/ 1 w 136"/>
                <a:gd name="T17" fmla="*/ 0 h 103"/>
                <a:gd name="T18" fmla="*/ 2 w 136"/>
                <a:gd name="T19" fmla="*/ 7 h 103"/>
                <a:gd name="T20" fmla="*/ 12 w 136"/>
                <a:gd name="T21" fmla="*/ 23 h 103"/>
                <a:gd name="T22" fmla="*/ 39 w 136"/>
                <a:gd name="T23" fmla="*/ 32 h 103"/>
                <a:gd name="T24" fmla="*/ 72 w 136"/>
                <a:gd name="T25" fmla="*/ 43 h 103"/>
                <a:gd name="T26" fmla="*/ 95 w 136"/>
                <a:gd name="T27" fmla="*/ 70 h 103"/>
                <a:gd name="T28" fmla="*/ 112 w 136"/>
                <a:gd name="T29" fmla="*/ 93 h 103"/>
                <a:gd name="T30" fmla="*/ 129 w 136"/>
                <a:gd name="T31" fmla="*/ 102 h 103"/>
                <a:gd name="T32" fmla="*/ 134 w 136"/>
                <a:gd name="T33" fmla="*/ 103 h 103"/>
                <a:gd name="T34" fmla="*/ 136 w 136"/>
                <a:gd name="T3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6" h="103">
                  <a:moveTo>
                    <a:pt x="136" y="103"/>
                  </a:moveTo>
                  <a:cubicBezTo>
                    <a:pt x="136" y="103"/>
                    <a:pt x="133" y="103"/>
                    <a:pt x="128" y="102"/>
                  </a:cubicBezTo>
                  <a:cubicBezTo>
                    <a:pt x="124" y="102"/>
                    <a:pt x="118" y="99"/>
                    <a:pt x="111" y="94"/>
                  </a:cubicBezTo>
                  <a:cubicBezTo>
                    <a:pt x="105" y="88"/>
                    <a:pt x="100" y="80"/>
                    <a:pt x="94" y="71"/>
                  </a:cubicBezTo>
                  <a:cubicBezTo>
                    <a:pt x="88" y="62"/>
                    <a:pt x="82" y="51"/>
                    <a:pt x="72" y="44"/>
                  </a:cubicBezTo>
                  <a:cubicBezTo>
                    <a:pt x="62" y="37"/>
                    <a:pt x="49" y="35"/>
                    <a:pt x="39" y="33"/>
                  </a:cubicBezTo>
                  <a:cubicBezTo>
                    <a:pt x="28" y="31"/>
                    <a:pt x="19" y="28"/>
                    <a:pt x="12" y="23"/>
                  </a:cubicBezTo>
                  <a:cubicBezTo>
                    <a:pt x="6" y="18"/>
                    <a:pt x="2" y="12"/>
                    <a:pt x="1" y="7"/>
                  </a:cubicBezTo>
                  <a:cubicBezTo>
                    <a:pt x="0" y="3"/>
                    <a:pt x="1" y="0"/>
                    <a:pt x="1" y="0"/>
                  </a:cubicBezTo>
                  <a:cubicBezTo>
                    <a:pt x="1" y="0"/>
                    <a:pt x="1" y="3"/>
                    <a:pt x="2" y="7"/>
                  </a:cubicBezTo>
                  <a:cubicBezTo>
                    <a:pt x="3" y="11"/>
                    <a:pt x="6" y="18"/>
                    <a:pt x="12" y="23"/>
                  </a:cubicBezTo>
                  <a:cubicBezTo>
                    <a:pt x="19" y="28"/>
                    <a:pt x="28" y="31"/>
                    <a:pt x="39" y="32"/>
                  </a:cubicBezTo>
                  <a:cubicBezTo>
                    <a:pt x="49" y="35"/>
                    <a:pt x="62" y="36"/>
                    <a:pt x="72" y="43"/>
                  </a:cubicBezTo>
                  <a:cubicBezTo>
                    <a:pt x="83" y="50"/>
                    <a:pt x="89" y="61"/>
                    <a:pt x="95" y="70"/>
                  </a:cubicBezTo>
                  <a:cubicBezTo>
                    <a:pt x="100" y="80"/>
                    <a:pt x="106" y="88"/>
                    <a:pt x="112" y="93"/>
                  </a:cubicBezTo>
                  <a:cubicBezTo>
                    <a:pt x="118" y="99"/>
                    <a:pt x="124" y="101"/>
                    <a:pt x="129" y="102"/>
                  </a:cubicBezTo>
                  <a:cubicBezTo>
                    <a:pt x="131" y="103"/>
                    <a:pt x="133" y="103"/>
                    <a:pt x="134" y="103"/>
                  </a:cubicBezTo>
                  <a:cubicBezTo>
                    <a:pt x="135" y="103"/>
                    <a:pt x="136" y="103"/>
                    <a:pt x="136" y="10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55">
              <a:extLst>
                <a:ext uri="{FF2B5EF4-FFF2-40B4-BE49-F238E27FC236}">
                  <a16:creationId xmlns:a16="http://schemas.microsoft.com/office/drawing/2014/main" id="{3726E6F7-19F5-4085-8B9D-609397B47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" y="2262"/>
              <a:ext cx="325" cy="185"/>
            </a:xfrm>
            <a:custGeom>
              <a:avLst/>
              <a:gdLst>
                <a:gd name="T0" fmla="*/ 137 w 137"/>
                <a:gd name="T1" fmla="*/ 59 h 78"/>
                <a:gd name="T2" fmla="*/ 134 w 137"/>
                <a:gd name="T3" fmla="*/ 58 h 78"/>
                <a:gd name="T4" fmla="*/ 125 w 137"/>
                <a:gd name="T5" fmla="*/ 56 h 78"/>
                <a:gd name="T6" fmla="*/ 111 w 137"/>
                <a:gd name="T7" fmla="*/ 59 h 78"/>
                <a:gd name="T8" fmla="*/ 106 w 137"/>
                <a:gd name="T9" fmla="*/ 67 h 78"/>
                <a:gd name="T10" fmla="*/ 109 w 137"/>
                <a:gd name="T11" fmla="*/ 76 h 78"/>
                <a:gd name="T12" fmla="*/ 114 w 137"/>
                <a:gd name="T13" fmla="*/ 78 h 78"/>
                <a:gd name="T14" fmla="*/ 119 w 137"/>
                <a:gd name="T15" fmla="*/ 76 h 78"/>
                <a:gd name="T16" fmla="*/ 126 w 137"/>
                <a:gd name="T17" fmla="*/ 67 h 78"/>
                <a:gd name="T18" fmla="*/ 120 w 137"/>
                <a:gd name="T19" fmla="*/ 43 h 78"/>
                <a:gd name="T20" fmla="*/ 107 w 137"/>
                <a:gd name="T21" fmla="*/ 37 h 78"/>
                <a:gd name="T22" fmla="*/ 92 w 137"/>
                <a:gd name="T23" fmla="*/ 39 h 78"/>
                <a:gd name="T24" fmla="*/ 77 w 137"/>
                <a:gd name="T25" fmla="*/ 43 h 78"/>
                <a:gd name="T26" fmla="*/ 60 w 137"/>
                <a:gd name="T27" fmla="*/ 43 h 78"/>
                <a:gd name="T28" fmla="*/ 45 w 137"/>
                <a:gd name="T29" fmla="*/ 38 h 78"/>
                <a:gd name="T30" fmla="*/ 34 w 137"/>
                <a:gd name="T31" fmla="*/ 27 h 78"/>
                <a:gd name="T32" fmla="*/ 38 w 137"/>
                <a:gd name="T33" fmla="*/ 12 h 78"/>
                <a:gd name="T34" fmla="*/ 52 w 137"/>
                <a:gd name="T35" fmla="*/ 10 h 78"/>
                <a:gd name="T36" fmla="*/ 57 w 137"/>
                <a:gd name="T37" fmla="*/ 15 h 78"/>
                <a:gd name="T38" fmla="*/ 58 w 137"/>
                <a:gd name="T39" fmla="*/ 22 h 78"/>
                <a:gd name="T40" fmla="*/ 51 w 137"/>
                <a:gd name="T41" fmla="*/ 33 h 78"/>
                <a:gd name="T42" fmla="*/ 39 w 137"/>
                <a:gd name="T43" fmla="*/ 36 h 78"/>
                <a:gd name="T44" fmla="*/ 28 w 137"/>
                <a:gd name="T45" fmla="*/ 35 h 78"/>
                <a:gd name="T46" fmla="*/ 11 w 137"/>
                <a:gd name="T47" fmla="*/ 24 h 78"/>
                <a:gd name="T48" fmla="*/ 3 w 137"/>
                <a:gd name="T49" fmla="*/ 12 h 78"/>
                <a:gd name="T50" fmla="*/ 0 w 137"/>
                <a:gd name="T51" fmla="*/ 4 h 78"/>
                <a:gd name="T52" fmla="*/ 0 w 137"/>
                <a:gd name="T53" fmla="*/ 0 h 78"/>
                <a:gd name="T54" fmla="*/ 0 w 137"/>
                <a:gd name="T55" fmla="*/ 4 h 78"/>
                <a:gd name="T56" fmla="*/ 3 w 137"/>
                <a:gd name="T57" fmla="*/ 12 h 78"/>
                <a:gd name="T58" fmla="*/ 12 w 137"/>
                <a:gd name="T59" fmla="*/ 24 h 78"/>
                <a:gd name="T60" fmla="*/ 28 w 137"/>
                <a:gd name="T61" fmla="*/ 34 h 78"/>
                <a:gd name="T62" fmla="*/ 39 w 137"/>
                <a:gd name="T63" fmla="*/ 36 h 78"/>
                <a:gd name="T64" fmla="*/ 51 w 137"/>
                <a:gd name="T65" fmla="*/ 32 h 78"/>
                <a:gd name="T66" fmla="*/ 57 w 137"/>
                <a:gd name="T67" fmla="*/ 22 h 78"/>
                <a:gd name="T68" fmla="*/ 51 w 137"/>
                <a:gd name="T69" fmla="*/ 11 h 78"/>
                <a:gd name="T70" fmla="*/ 38 w 137"/>
                <a:gd name="T71" fmla="*/ 13 h 78"/>
                <a:gd name="T72" fmla="*/ 35 w 137"/>
                <a:gd name="T73" fmla="*/ 27 h 78"/>
                <a:gd name="T74" fmla="*/ 45 w 137"/>
                <a:gd name="T75" fmla="*/ 38 h 78"/>
                <a:gd name="T76" fmla="*/ 61 w 137"/>
                <a:gd name="T77" fmla="*/ 42 h 78"/>
                <a:gd name="T78" fmla="*/ 77 w 137"/>
                <a:gd name="T79" fmla="*/ 42 h 78"/>
                <a:gd name="T80" fmla="*/ 92 w 137"/>
                <a:gd name="T81" fmla="*/ 38 h 78"/>
                <a:gd name="T82" fmla="*/ 107 w 137"/>
                <a:gd name="T83" fmla="*/ 36 h 78"/>
                <a:gd name="T84" fmla="*/ 120 w 137"/>
                <a:gd name="T85" fmla="*/ 42 h 78"/>
                <a:gd name="T86" fmla="*/ 127 w 137"/>
                <a:gd name="T87" fmla="*/ 67 h 78"/>
                <a:gd name="T88" fmla="*/ 119 w 137"/>
                <a:gd name="T89" fmla="*/ 77 h 78"/>
                <a:gd name="T90" fmla="*/ 114 w 137"/>
                <a:gd name="T91" fmla="*/ 78 h 78"/>
                <a:gd name="T92" fmla="*/ 109 w 137"/>
                <a:gd name="T93" fmla="*/ 76 h 78"/>
                <a:gd name="T94" fmla="*/ 106 w 137"/>
                <a:gd name="T95" fmla="*/ 66 h 78"/>
                <a:gd name="T96" fmla="*/ 111 w 137"/>
                <a:gd name="T97" fmla="*/ 59 h 78"/>
                <a:gd name="T98" fmla="*/ 125 w 137"/>
                <a:gd name="T99" fmla="*/ 56 h 78"/>
                <a:gd name="T100" fmla="*/ 134 w 137"/>
                <a:gd name="T101" fmla="*/ 58 h 78"/>
                <a:gd name="T102" fmla="*/ 137 w 137"/>
                <a:gd name="T103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" h="78">
                  <a:moveTo>
                    <a:pt x="137" y="59"/>
                  </a:moveTo>
                  <a:cubicBezTo>
                    <a:pt x="137" y="59"/>
                    <a:pt x="136" y="59"/>
                    <a:pt x="134" y="58"/>
                  </a:cubicBezTo>
                  <a:cubicBezTo>
                    <a:pt x="132" y="58"/>
                    <a:pt x="129" y="57"/>
                    <a:pt x="125" y="56"/>
                  </a:cubicBezTo>
                  <a:cubicBezTo>
                    <a:pt x="121" y="56"/>
                    <a:pt x="116" y="56"/>
                    <a:pt x="111" y="59"/>
                  </a:cubicBezTo>
                  <a:cubicBezTo>
                    <a:pt x="109" y="61"/>
                    <a:pt x="107" y="63"/>
                    <a:pt x="106" y="67"/>
                  </a:cubicBezTo>
                  <a:cubicBezTo>
                    <a:pt x="106" y="70"/>
                    <a:pt x="106" y="73"/>
                    <a:pt x="109" y="76"/>
                  </a:cubicBezTo>
                  <a:cubicBezTo>
                    <a:pt x="110" y="77"/>
                    <a:pt x="112" y="78"/>
                    <a:pt x="114" y="78"/>
                  </a:cubicBezTo>
                  <a:cubicBezTo>
                    <a:pt x="116" y="78"/>
                    <a:pt x="117" y="77"/>
                    <a:pt x="119" y="76"/>
                  </a:cubicBezTo>
                  <a:cubicBezTo>
                    <a:pt x="122" y="74"/>
                    <a:pt x="125" y="71"/>
                    <a:pt x="126" y="67"/>
                  </a:cubicBezTo>
                  <a:cubicBezTo>
                    <a:pt x="129" y="59"/>
                    <a:pt x="127" y="49"/>
                    <a:pt x="120" y="43"/>
                  </a:cubicBezTo>
                  <a:cubicBezTo>
                    <a:pt x="116" y="40"/>
                    <a:pt x="112" y="37"/>
                    <a:pt x="107" y="37"/>
                  </a:cubicBezTo>
                  <a:cubicBezTo>
                    <a:pt x="102" y="36"/>
                    <a:pt x="97" y="37"/>
                    <a:pt x="92" y="39"/>
                  </a:cubicBezTo>
                  <a:cubicBezTo>
                    <a:pt x="87" y="40"/>
                    <a:pt x="82" y="42"/>
                    <a:pt x="77" y="43"/>
                  </a:cubicBezTo>
                  <a:cubicBezTo>
                    <a:pt x="71" y="43"/>
                    <a:pt x="66" y="43"/>
                    <a:pt x="60" y="43"/>
                  </a:cubicBezTo>
                  <a:cubicBezTo>
                    <a:pt x="55" y="42"/>
                    <a:pt x="50" y="41"/>
                    <a:pt x="45" y="38"/>
                  </a:cubicBezTo>
                  <a:cubicBezTo>
                    <a:pt x="40" y="36"/>
                    <a:pt x="35" y="32"/>
                    <a:pt x="34" y="27"/>
                  </a:cubicBezTo>
                  <a:cubicBezTo>
                    <a:pt x="33" y="22"/>
                    <a:pt x="34" y="16"/>
                    <a:pt x="38" y="12"/>
                  </a:cubicBezTo>
                  <a:cubicBezTo>
                    <a:pt x="41" y="9"/>
                    <a:pt x="47" y="8"/>
                    <a:pt x="52" y="10"/>
                  </a:cubicBezTo>
                  <a:cubicBezTo>
                    <a:pt x="54" y="11"/>
                    <a:pt x="56" y="13"/>
                    <a:pt x="57" y="15"/>
                  </a:cubicBezTo>
                  <a:cubicBezTo>
                    <a:pt x="58" y="17"/>
                    <a:pt x="58" y="20"/>
                    <a:pt x="58" y="22"/>
                  </a:cubicBezTo>
                  <a:cubicBezTo>
                    <a:pt x="57" y="27"/>
                    <a:pt x="55" y="31"/>
                    <a:pt x="51" y="33"/>
                  </a:cubicBezTo>
                  <a:cubicBezTo>
                    <a:pt x="47" y="35"/>
                    <a:pt x="43" y="36"/>
                    <a:pt x="39" y="36"/>
                  </a:cubicBezTo>
                  <a:cubicBezTo>
                    <a:pt x="35" y="36"/>
                    <a:pt x="31" y="36"/>
                    <a:pt x="28" y="35"/>
                  </a:cubicBezTo>
                  <a:cubicBezTo>
                    <a:pt x="21" y="32"/>
                    <a:pt x="15" y="29"/>
                    <a:pt x="11" y="24"/>
                  </a:cubicBezTo>
                  <a:cubicBezTo>
                    <a:pt x="7" y="20"/>
                    <a:pt x="5" y="16"/>
                    <a:pt x="3" y="12"/>
                  </a:cubicBezTo>
                  <a:cubicBezTo>
                    <a:pt x="1" y="9"/>
                    <a:pt x="1" y="6"/>
                    <a:pt x="0" y="4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1" y="6"/>
                    <a:pt x="2" y="9"/>
                    <a:pt x="3" y="12"/>
                  </a:cubicBezTo>
                  <a:cubicBezTo>
                    <a:pt x="5" y="16"/>
                    <a:pt x="8" y="20"/>
                    <a:pt x="12" y="24"/>
                  </a:cubicBezTo>
                  <a:cubicBezTo>
                    <a:pt x="16" y="28"/>
                    <a:pt x="21" y="32"/>
                    <a:pt x="28" y="34"/>
                  </a:cubicBezTo>
                  <a:cubicBezTo>
                    <a:pt x="32" y="35"/>
                    <a:pt x="35" y="36"/>
                    <a:pt x="39" y="36"/>
                  </a:cubicBezTo>
                  <a:cubicBezTo>
                    <a:pt x="43" y="36"/>
                    <a:pt x="47" y="35"/>
                    <a:pt x="51" y="32"/>
                  </a:cubicBezTo>
                  <a:cubicBezTo>
                    <a:pt x="54" y="30"/>
                    <a:pt x="57" y="26"/>
                    <a:pt x="57" y="22"/>
                  </a:cubicBezTo>
                  <a:cubicBezTo>
                    <a:pt x="58" y="18"/>
                    <a:pt x="56" y="13"/>
                    <a:pt x="51" y="11"/>
                  </a:cubicBezTo>
                  <a:cubicBezTo>
                    <a:pt x="47" y="9"/>
                    <a:pt x="42" y="10"/>
                    <a:pt x="38" y="13"/>
                  </a:cubicBezTo>
                  <a:cubicBezTo>
                    <a:pt x="35" y="16"/>
                    <a:pt x="33" y="22"/>
                    <a:pt x="35" y="27"/>
                  </a:cubicBezTo>
                  <a:cubicBezTo>
                    <a:pt x="36" y="32"/>
                    <a:pt x="40" y="35"/>
                    <a:pt x="45" y="38"/>
                  </a:cubicBezTo>
                  <a:cubicBezTo>
                    <a:pt x="50" y="40"/>
                    <a:pt x="55" y="41"/>
                    <a:pt x="61" y="42"/>
                  </a:cubicBezTo>
                  <a:cubicBezTo>
                    <a:pt x="66" y="42"/>
                    <a:pt x="71" y="42"/>
                    <a:pt x="77" y="42"/>
                  </a:cubicBezTo>
                  <a:cubicBezTo>
                    <a:pt x="82" y="41"/>
                    <a:pt x="87" y="39"/>
                    <a:pt x="92" y="38"/>
                  </a:cubicBezTo>
                  <a:cubicBezTo>
                    <a:pt x="97" y="37"/>
                    <a:pt x="102" y="36"/>
                    <a:pt x="107" y="36"/>
                  </a:cubicBezTo>
                  <a:cubicBezTo>
                    <a:pt x="112" y="37"/>
                    <a:pt x="117" y="39"/>
                    <a:pt x="120" y="42"/>
                  </a:cubicBezTo>
                  <a:cubicBezTo>
                    <a:pt x="128" y="49"/>
                    <a:pt x="130" y="59"/>
                    <a:pt x="127" y="67"/>
                  </a:cubicBezTo>
                  <a:cubicBezTo>
                    <a:pt x="126" y="71"/>
                    <a:pt x="123" y="75"/>
                    <a:pt x="119" y="77"/>
                  </a:cubicBezTo>
                  <a:cubicBezTo>
                    <a:pt x="118" y="78"/>
                    <a:pt x="116" y="78"/>
                    <a:pt x="114" y="78"/>
                  </a:cubicBezTo>
                  <a:cubicBezTo>
                    <a:pt x="112" y="78"/>
                    <a:pt x="110" y="77"/>
                    <a:pt x="109" y="76"/>
                  </a:cubicBezTo>
                  <a:cubicBezTo>
                    <a:pt x="106" y="74"/>
                    <a:pt x="105" y="70"/>
                    <a:pt x="106" y="66"/>
                  </a:cubicBezTo>
                  <a:cubicBezTo>
                    <a:pt x="106" y="63"/>
                    <a:pt x="108" y="61"/>
                    <a:pt x="111" y="59"/>
                  </a:cubicBezTo>
                  <a:cubicBezTo>
                    <a:pt x="116" y="56"/>
                    <a:pt x="121" y="55"/>
                    <a:pt x="125" y="56"/>
                  </a:cubicBezTo>
                  <a:cubicBezTo>
                    <a:pt x="129" y="56"/>
                    <a:pt x="132" y="57"/>
                    <a:pt x="134" y="58"/>
                  </a:cubicBezTo>
                  <a:cubicBezTo>
                    <a:pt x="136" y="59"/>
                    <a:pt x="137" y="59"/>
                    <a:pt x="137" y="59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56">
              <a:extLst>
                <a:ext uri="{FF2B5EF4-FFF2-40B4-BE49-F238E27FC236}">
                  <a16:creationId xmlns:a16="http://schemas.microsoft.com/office/drawing/2014/main" id="{81453DB3-2C5D-4F87-B516-15BE3DB98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1" y="4133"/>
              <a:ext cx="211" cy="245"/>
            </a:xfrm>
            <a:custGeom>
              <a:avLst/>
              <a:gdLst>
                <a:gd name="T0" fmla="*/ 33 w 89"/>
                <a:gd name="T1" fmla="*/ 62 h 103"/>
                <a:gd name="T2" fmla="*/ 13 w 89"/>
                <a:gd name="T3" fmla="*/ 37 h 103"/>
                <a:gd name="T4" fmla="*/ 60 w 89"/>
                <a:gd name="T5" fmla="*/ 0 h 103"/>
                <a:gd name="T6" fmla="*/ 89 w 89"/>
                <a:gd name="T7" fmla="*/ 37 h 103"/>
                <a:gd name="T8" fmla="*/ 86 w 89"/>
                <a:gd name="T9" fmla="*/ 39 h 103"/>
                <a:gd name="T10" fmla="*/ 12 w 89"/>
                <a:gd name="T11" fmla="*/ 98 h 103"/>
                <a:gd name="T12" fmla="*/ 33 w 89"/>
                <a:gd name="T13" fmla="*/ 6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3">
                  <a:moveTo>
                    <a:pt x="33" y="62"/>
                  </a:moveTo>
                  <a:cubicBezTo>
                    <a:pt x="13" y="37"/>
                    <a:pt x="13" y="37"/>
                    <a:pt x="13" y="37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6" y="39"/>
                    <a:pt x="86" y="39"/>
                    <a:pt x="86" y="39"/>
                  </a:cubicBezTo>
                  <a:cubicBezTo>
                    <a:pt x="74" y="50"/>
                    <a:pt x="23" y="94"/>
                    <a:pt x="12" y="98"/>
                  </a:cubicBezTo>
                  <a:cubicBezTo>
                    <a:pt x="0" y="103"/>
                    <a:pt x="33" y="62"/>
                    <a:pt x="33" y="6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57">
              <a:extLst>
                <a:ext uri="{FF2B5EF4-FFF2-40B4-BE49-F238E27FC236}">
                  <a16:creationId xmlns:a16="http://schemas.microsoft.com/office/drawing/2014/main" id="{18B5C382-2C2D-45EC-95EA-A1F1996F5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5" y="4221"/>
              <a:ext cx="187" cy="147"/>
            </a:xfrm>
            <a:custGeom>
              <a:avLst/>
              <a:gdLst>
                <a:gd name="T0" fmla="*/ 0 w 79"/>
                <a:gd name="T1" fmla="*/ 60 h 62"/>
                <a:gd name="T2" fmla="*/ 0 w 79"/>
                <a:gd name="T3" fmla="*/ 62 h 62"/>
                <a:gd name="T4" fmla="*/ 0 w 79"/>
                <a:gd name="T5" fmla="*/ 62 h 62"/>
                <a:gd name="T6" fmla="*/ 3 w 79"/>
                <a:gd name="T7" fmla="*/ 61 h 62"/>
                <a:gd name="T8" fmla="*/ 2 w 79"/>
                <a:gd name="T9" fmla="*/ 61 h 62"/>
                <a:gd name="T10" fmla="*/ 1 w 79"/>
                <a:gd name="T11" fmla="*/ 61 h 62"/>
                <a:gd name="T12" fmla="*/ 0 w 79"/>
                <a:gd name="T13" fmla="*/ 60 h 62"/>
                <a:gd name="T14" fmla="*/ 7 w 79"/>
                <a:gd name="T15" fmla="*/ 46 h 62"/>
                <a:gd name="T16" fmla="*/ 5 w 79"/>
                <a:gd name="T17" fmla="*/ 49 h 62"/>
                <a:gd name="T18" fmla="*/ 7 w 79"/>
                <a:gd name="T19" fmla="*/ 46 h 62"/>
                <a:gd name="T20" fmla="*/ 79 w 79"/>
                <a:gd name="T21" fmla="*/ 0 h 62"/>
                <a:gd name="T22" fmla="*/ 76 w 79"/>
                <a:gd name="T23" fmla="*/ 2 h 62"/>
                <a:gd name="T24" fmla="*/ 36 w 79"/>
                <a:gd name="T25" fmla="*/ 37 h 62"/>
                <a:gd name="T26" fmla="*/ 79 w 79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2">
                  <a:moveTo>
                    <a:pt x="0" y="60"/>
                  </a:moveTo>
                  <a:cubicBezTo>
                    <a:pt x="0" y="61"/>
                    <a:pt x="0" y="61"/>
                    <a:pt x="0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" y="62"/>
                    <a:pt x="2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1"/>
                    <a:pt x="0" y="60"/>
                  </a:cubicBezTo>
                  <a:moveTo>
                    <a:pt x="7" y="46"/>
                  </a:moveTo>
                  <a:cubicBezTo>
                    <a:pt x="7" y="46"/>
                    <a:pt x="6" y="47"/>
                    <a:pt x="5" y="49"/>
                  </a:cubicBezTo>
                  <a:cubicBezTo>
                    <a:pt x="6" y="48"/>
                    <a:pt x="7" y="47"/>
                    <a:pt x="7" y="46"/>
                  </a:cubicBezTo>
                  <a:moveTo>
                    <a:pt x="79" y="0"/>
                  </a:moveTo>
                  <a:cubicBezTo>
                    <a:pt x="76" y="2"/>
                    <a:pt x="76" y="2"/>
                    <a:pt x="76" y="2"/>
                  </a:cubicBezTo>
                  <a:cubicBezTo>
                    <a:pt x="70" y="8"/>
                    <a:pt x="52" y="23"/>
                    <a:pt x="36" y="37"/>
                  </a:cubicBezTo>
                  <a:cubicBezTo>
                    <a:pt x="51" y="24"/>
                    <a:pt x="69" y="9"/>
                    <a:pt x="7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8">
              <a:extLst>
                <a:ext uri="{FF2B5EF4-FFF2-40B4-BE49-F238E27FC236}">
                  <a16:creationId xmlns:a16="http://schemas.microsoft.com/office/drawing/2014/main" id="{389CDFA5-8B55-49E9-AC16-3258E4382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9"/>
              <a:ext cx="187" cy="147"/>
            </a:xfrm>
            <a:custGeom>
              <a:avLst/>
              <a:gdLst>
                <a:gd name="T0" fmla="*/ 78 w 79"/>
                <a:gd name="T1" fmla="*/ 0 h 62"/>
                <a:gd name="T2" fmla="*/ 62 w 79"/>
                <a:gd name="T3" fmla="*/ 13 h 62"/>
                <a:gd name="T4" fmla="*/ 62 w 79"/>
                <a:gd name="T5" fmla="*/ 13 h 62"/>
                <a:gd name="T6" fmla="*/ 62 w 79"/>
                <a:gd name="T7" fmla="*/ 13 h 62"/>
                <a:gd name="T8" fmla="*/ 61 w 79"/>
                <a:gd name="T9" fmla="*/ 13 h 62"/>
                <a:gd name="T10" fmla="*/ 16 w 79"/>
                <a:gd name="T11" fmla="*/ 49 h 62"/>
                <a:gd name="T12" fmla="*/ 9 w 79"/>
                <a:gd name="T13" fmla="*/ 46 h 62"/>
                <a:gd name="T14" fmla="*/ 7 w 79"/>
                <a:gd name="T15" fmla="*/ 47 h 62"/>
                <a:gd name="T16" fmla="*/ 7 w 79"/>
                <a:gd name="T17" fmla="*/ 47 h 62"/>
                <a:gd name="T18" fmla="*/ 5 w 79"/>
                <a:gd name="T19" fmla="*/ 50 h 62"/>
                <a:gd name="T20" fmla="*/ 0 w 79"/>
                <a:gd name="T21" fmla="*/ 61 h 62"/>
                <a:gd name="T22" fmla="*/ 1 w 79"/>
                <a:gd name="T23" fmla="*/ 62 h 62"/>
                <a:gd name="T24" fmla="*/ 2 w 79"/>
                <a:gd name="T25" fmla="*/ 62 h 62"/>
                <a:gd name="T26" fmla="*/ 3 w 79"/>
                <a:gd name="T27" fmla="*/ 62 h 62"/>
                <a:gd name="T28" fmla="*/ 36 w 79"/>
                <a:gd name="T29" fmla="*/ 38 h 62"/>
                <a:gd name="T30" fmla="*/ 76 w 79"/>
                <a:gd name="T31" fmla="*/ 3 h 62"/>
                <a:gd name="T32" fmla="*/ 79 w 79"/>
                <a:gd name="T33" fmla="*/ 1 h 62"/>
                <a:gd name="T34" fmla="*/ 79 w 79"/>
                <a:gd name="T35" fmla="*/ 1 h 62"/>
                <a:gd name="T36" fmla="*/ 78 w 79"/>
                <a:gd name="T3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2">
                  <a:moveTo>
                    <a:pt x="78" y="0"/>
                  </a:move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2" y="46"/>
                    <a:pt x="9" y="46"/>
                  </a:cubicBezTo>
                  <a:cubicBezTo>
                    <a:pt x="9" y="46"/>
                    <a:pt x="8" y="46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6" y="49"/>
                    <a:pt x="5" y="50"/>
                  </a:cubicBezTo>
                  <a:cubicBezTo>
                    <a:pt x="3" y="53"/>
                    <a:pt x="0" y="59"/>
                    <a:pt x="0" y="61"/>
                  </a:cubicBezTo>
                  <a:cubicBezTo>
                    <a:pt x="0" y="62"/>
                    <a:pt x="0" y="62"/>
                    <a:pt x="1" y="62"/>
                  </a:cubicBezTo>
                  <a:cubicBezTo>
                    <a:pt x="1" y="62"/>
                    <a:pt x="2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8" y="59"/>
                    <a:pt x="21" y="49"/>
                    <a:pt x="36" y="38"/>
                  </a:cubicBezTo>
                  <a:cubicBezTo>
                    <a:pt x="52" y="24"/>
                    <a:pt x="70" y="9"/>
                    <a:pt x="76" y="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0"/>
                    <a:pt x="78" y="0"/>
                    <a:pt x="78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9">
              <a:extLst>
                <a:ext uri="{FF2B5EF4-FFF2-40B4-BE49-F238E27FC236}">
                  <a16:creationId xmlns:a16="http://schemas.microsoft.com/office/drawing/2014/main" id="{A07FF180-327A-48FC-BB10-E0296A168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5" y="4216"/>
              <a:ext cx="187" cy="150"/>
            </a:xfrm>
            <a:custGeom>
              <a:avLst/>
              <a:gdLst>
                <a:gd name="T0" fmla="*/ 79 w 79"/>
                <a:gd name="T1" fmla="*/ 0 h 63"/>
                <a:gd name="T2" fmla="*/ 78 w 79"/>
                <a:gd name="T3" fmla="*/ 1 h 63"/>
                <a:gd name="T4" fmla="*/ 76 w 79"/>
                <a:gd name="T5" fmla="*/ 3 h 63"/>
                <a:gd name="T6" fmla="*/ 68 w 79"/>
                <a:gd name="T7" fmla="*/ 10 h 63"/>
                <a:gd name="T8" fmla="*/ 40 w 79"/>
                <a:gd name="T9" fmla="*/ 33 h 63"/>
                <a:gd name="T10" fmla="*/ 12 w 79"/>
                <a:gd name="T11" fmla="*/ 54 h 63"/>
                <a:gd name="T12" fmla="*/ 3 w 79"/>
                <a:gd name="T13" fmla="*/ 61 h 63"/>
                <a:gd name="T14" fmla="*/ 1 w 79"/>
                <a:gd name="T15" fmla="*/ 62 h 63"/>
                <a:gd name="T16" fmla="*/ 0 w 79"/>
                <a:gd name="T17" fmla="*/ 63 h 63"/>
                <a:gd name="T18" fmla="*/ 0 w 79"/>
                <a:gd name="T19" fmla="*/ 62 h 63"/>
                <a:gd name="T20" fmla="*/ 3 w 79"/>
                <a:gd name="T21" fmla="*/ 60 h 63"/>
                <a:gd name="T22" fmla="*/ 11 w 79"/>
                <a:gd name="T23" fmla="*/ 54 h 63"/>
                <a:gd name="T24" fmla="*/ 40 w 79"/>
                <a:gd name="T25" fmla="*/ 32 h 63"/>
                <a:gd name="T26" fmla="*/ 67 w 79"/>
                <a:gd name="T27" fmla="*/ 9 h 63"/>
                <a:gd name="T28" fmla="*/ 76 w 79"/>
                <a:gd name="T29" fmla="*/ 3 h 63"/>
                <a:gd name="T30" fmla="*/ 78 w 79"/>
                <a:gd name="T31" fmla="*/ 1 h 63"/>
                <a:gd name="T32" fmla="*/ 79 w 79"/>
                <a:gd name="T3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63">
                  <a:moveTo>
                    <a:pt x="79" y="0"/>
                  </a:moveTo>
                  <a:cubicBezTo>
                    <a:pt x="79" y="0"/>
                    <a:pt x="79" y="0"/>
                    <a:pt x="78" y="1"/>
                  </a:cubicBezTo>
                  <a:cubicBezTo>
                    <a:pt x="78" y="1"/>
                    <a:pt x="77" y="2"/>
                    <a:pt x="76" y="3"/>
                  </a:cubicBezTo>
                  <a:cubicBezTo>
                    <a:pt x="74" y="5"/>
                    <a:pt x="71" y="7"/>
                    <a:pt x="68" y="10"/>
                  </a:cubicBezTo>
                  <a:cubicBezTo>
                    <a:pt x="61" y="16"/>
                    <a:pt x="51" y="24"/>
                    <a:pt x="40" y="33"/>
                  </a:cubicBezTo>
                  <a:cubicBezTo>
                    <a:pt x="29" y="41"/>
                    <a:pt x="19" y="49"/>
                    <a:pt x="12" y="54"/>
                  </a:cubicBezTo>
                  <a:cubicBezTo>
                    <a:pt x="8" y="57"/>
                    <a:pt x="5" y="59"/>
                    <a:pt x="3" y="61"/>
                  </a:cubicBezTo>
                  <a:cubicBezTo>
                    <a:pt x="2" y="61"/>
                    <a:pt x="1" y="62"/>
                    <a:pt x="1" y="6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1" y="62"/>
                    <a:pt x="2" y="61"/>
                    <a:pt x="3" y="60"/>
                  </a:cubicBezTo>
                  <a:cubicBezTo>
                    <a:pt x="5" y="59"/>
                    <a:pt x="8" y="56"/>
                    <a:pt x="11" y="54"/>
                  </a:cubicBezTo>
                  <a:cubicBezTo>
                    <a:pt x="19" y="48"/>
                    <a:pt x="29" y="41"/>
                    <a:pt x="40" y="32"/>
                  </a:cubicBezTo>
                  <a:cubicBezTo>
                    <a:pt x="51" y="23"/>
                    <a:pt x="60" y="15"/>
                    <a:pt x="67" y="9"/>
                  </a:cubicBezTo>
                  <a:cubicBezTo>
                    <a:pt x="71" y="7"/>
                    <a:pt x="74" y="4"/>
                    <a:pt x="76" y="3"/>
                  </a:cubicBezTo>
                  <a:cubicBezTo>
                    <a:pt x="77" y="2"/>
                    <a:pt x="77" y="1"/>
                    <a:pt x="78" y="1"/>
                  </a:cubicBezTo>
                  <a:cubicBezTo>
                    <a:pt x="79" y="0"/>
                    <a:pt x="79" y="0"/>
                    <a:pt x="79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0">
              <a:extLst>
                <a:ext uri="{FF2B5EF4-FFF2-40B4-BE49-F238E27FC236}">
                  <a16:creationId xmlns:a16="http://schemas.microsoft.com/office/drawing/2014/main" id="{965AE535-2E22-4273-BB55-81A3D24EB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" y="4328"/>
              <a:ext cx="23" cy="9"/>
            </a:xfrm>
            <a:custGeom>
              <a:avLst/>
              <a:gdLst>
                <a:gd name="T0" fmla="*/ 10 w 10"/>
                <a:gd name="T1" fmla="*/ 4 h 4"/>
                <a:gd name="T2" fmla="*/ 5 w 10"/>
                <a:gd name="T3" fmla="*/ 1 h 4"/>
                <a:gd name="T4" fmla="*/ 0 w 10"/>
                <a:gd name="T5" fmla="*/ 0 h 4"/>
                <a:gd name="T6" fmla="*/ 5 w 10"/>
                <a:gd name="T7" fmla="*/ 1 h 4"/>
                <a:gd name="T8" fmla="*/ 10 w 10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cubicBezTo>
                    <a:pt x="10" y="4"/>
                    <a:pt x="8" y="2"/>
                    <a:pt x="5" y="1"/>
                  </a:cubicBezTo>
                  <a:cubicBezTo>
                    <a:pt x="2" y="0"/>
                    <a:pt x="0" y="1"/>
                    <a:pt x="0" y="0"/>
                  </a:cubicBezTo>
                  <a:cubicBezTo>
                    <a:pt x="0" y="0"/>
                    <a:pt x="2" y="0"/>
                    <a:pt x="5" y="1"/>
                  </a:cubicBezTo>
                  <a:cubicBezTo>
                    <a:pt x="9" y="2"/>
                    <a:pt x="10" y="4"/>
                    <a:pt x="1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61">
              <a:extLst>
                <a:ext uri="{FF2B5EF4-FFF2-40B4-BE49-F238E27FC236}">
                  <a16:creationId xmlns:a16="http://schemas.microsoft.com/office/drawing/2014/main" id="{23692AED-4EA2-435D-85E0-92FE90183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4290"/>
              <a:ext cx="12" cy="5"/>
            </a:xfrm>
            <a:custGeom>
              <a:avLst/>
              <a:gdLst>
                <a:gd name="T0" fmla="*/ 5 w 5"/>
                <a:gd name="T1" fmla="*/ 2 h 2"/>
                <a:gd name="T2" fmla="*/ 2 w 5"/>
                <a:gd name="T3" fmla="*/ 2 h 2"/>
                <a:gd name="T4" fmla="*/ 0 w 5"/>
                <a:gd name="T5" fmla="*/ 0 h 2"/>
                <a:gd name="T6" fmla="*/ 3 w 5"/>
                <a:gd name="T7" fmla="*/ 1 h 2"/>
                <a:gd name="T8" fmla="*/ 5 w 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cubicBezTo>
                    <a:pt x="5" y="2"/>
                    <a:pt x="4" y="2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62">
              <a:extLst>
                <a:ext uri="{FF2B5EF4-FFF2-40B4-BE49-F238E27FC236}">
                  <a16:creationId xmlns:a16="http://schemas.microsoft.com/office/drawing/2014/main" id="{7530B328-39CA-49A3-8E39-7C36DE42D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" y="4283"/>
              <a:ext cx="12" cy="2"/>
            </a:xfrm>
            <a:custGeom>
              <a:avLst/>
              <a:gdLst>
                <a:gd name="T0" fmla="*/ 5 w 5"/>
                <a:gd name="T1" fmla="*/ 0 h 1"/>
                <a:gd name="T2" fmla="*/ 3 w 5"/>
                <a:gd name="T3" fmla="*/ 0 h 1"/>
                <a:gd name="T4" fmla="*/ 0 w 5"/>
                <a:gd name="T5" fmla="*/ 0 h 1"/>
                <a:gd name="T6" fmla="*/ 3 w 5"/>
                <a:gd name="T7" fmla="*/ 0 h 1"/>
                <a:gd name="T8" fmla="*/ 5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cubicBezTo>
                    <a:pt x="5" y="0"/>
                    <a:pt x="4" y="1"/>
                    <a:pt x="3" y="0"/>
                  </a:cubicBezTo>
                  <a:cubicBezTo>
                    <a:pt x="2" y="0"/>
                    <a:pt x="0" y="0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63">
              <a:extLst>
                <a:ext uri="{FF2B5EF4-FFF2-40B4-BE49-F238E27FC236}">
                  <a16:creationId xmlns:a16="http://schemas.microsoft.com/office/drawing/2014/main" id="{28BD9DAB-8458-443A-B675-0B40502C2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" y="4268"/>
              <a:ext cx="12" cy="1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0 w 5"/>
                <a:gd name="T5" fmla="*/ 4 h 4"/>
                <a:gd name="T6" fmla="*/ 3 w 5"/>
                <a:gd name="T7" fmla="*/ 2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1"/>
                    <a:pt x="3" y="2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1" y="3"/>
                    <a:pt x="3" y="2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64">
              <a:extLst>
                <a:ext uri="{FF2B5EF4-FFF2-40B4-BE49-F238E27FC236}">
                  <a16:creationId xmlns:a16="http://schemas.microsoft.com/office/drawing/2014/main" id="{A2815FA1-CD35-40D7-A664-BE94BD4F6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4 w 6"/>
                <a:gd name="T3" fmla="*/ 3 h 5"/>
                <a:gd name="T4" fmla="*/ 0 w 6"/>
                <a:gd name="T5" fmla="*/ 5 h 5"/>
                <a:gd name="T6" fmla="*/ 3 w 6"/>
                <a:gd name="T7" fmla="*/ 3 h 5"/>
                <a:gd name="T8" fmla="*/ 6 w 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6" y="0"/>
                    <a:pt x="5" y="2"/>
                    <a:pt x="4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2" y="4"/>
                    <a:pt x="3" y="3"/>
                  </a:cubicBezTo>
                  <a:cubicBezTo>
                    <a:pt x="5" y="1"/>
                    <a:pt x="6" y="0"/>
                    <a:pt x="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65">
              <a:extLst>
                <a:ext uri="{FF2B5EF4-FFF2-40B4-BE49-F238E27FC236}">
                  <a16:creationId xmlns:a16="http://schemas.microsoft.com/office/drawing/2014/main" id="{70BA0213-D21C-4C38-A834-18231A189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6" y="4285"/>
              <a:ext cx="29" cy="14"/>
            </a:xfrm>
            <a:custGeom>
              <a:avLst/>
              <a:gdLst>
                <a:gd name="T0" fmla="*/ 11 w 12"/>
                <a:gd name="T1" fmla="*/ 1 h 6"/>
                <a:gd name="T2" fmla="*/ 8 w 12"/>
                <a:gd name="T3" fmla="*/ 4 h 6"/>
                <a:gd name="T4" fmla="*/ 5 w 12"/>
                <a:gd name="T5" fmla="*/ 6 h 6"/>
                <a:gd name="T6" fmla="*/ 2 w 12"/>
                <a:gd name="T7" fmla="*/ 6 h 6"/>
                <a:gd name="T8" fmla="*/ 1 w 12"/>
                <a:gd name="T9" fmla="*/ 6 h 6"/>
                <a:gd name="T10" fmla="*/ 0 w 12"/>
                <a:gd name="T11" fmla="*/ 4 h 6"/>
                <a:gd name="T12" fmla="*/ 8 w 12"/>
                <a:gd name="T13" fmla="*/ 1 h 6"/>
                <a:gd name="T14" fmla="*/ 11 w 12"/>
                <a:gd name="T15" fmla="*/ 2 h 6"/>
                <a:gd name="T16" fmla="*/ 12 w 12"/>
                <a:gd name="T17" fmla="*/ 3 h 6"/>
                <a:gd name="T18" fmla="*/ 8 w 12"/>
                <a:gd name="T19" fmla="*/ 1 h 6"/>
                <a:gd name="T20" fmla="*/ 4 w 12"/>
                <a:gd name="T21" fmla="*/ 1 h 6"/>
                <a:gd name="T22" fmla="*/ 1 w 12"/>
                <a:gd name="T23" fmla="*/ 5 h 6"/>
                <a:gd name="T24" fmla="*/ 2 w 12"/>
                <a:gd name="T25" fmla="*/ 6 h 6"/>
                <a:gd name="T26" fmla="*/ 4 w 12"/>
                <a:gd name="T27" fmla="*/ 5 h 6"/>
                <a:gd name="T28" fmla="*/ 8 w 12"/>
                <a:gd name="T29" fmla="*/ 3 h 6"/>
                <a:gd name="T30" fmla="*/ 11 w 12"/>
                <a:gd name="T3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6">
                  <a:moveTo>
                    <a:pt x="11" y="1"/>
                  </a:moveTo>
                  <a:cubicBezTo>
                    <a:pt x="11" y="1"/>
                    <a:pt x="10" y="3"/>
                    <a:pt x="8" y="4"/>
                  </a:cubicBezTo>
                  <a:cubicBezTo>
                    <a:pt x="7" y="4"/>
                    <a:pt x="6" y="5"/>
                    <a:pt x="5" y="6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10" y="1"/>
                    <a:pt x="10" y="1"/>
                    <a:pt x="11" y="2"/>
                  </a:cubicBezTo>
                  <a:cubicBezTo>
                    <a:pt x="11" y="2"/>
                    <a:pt x="12" y="3"/>
                    <a:pt x="12" y="3"/>
                  </a:cubicBezTo>
                  <a:cubicBezTo>
                    <a:pt x="12" y="3"/>
                    <a:pt x="10" y="2"/>
                    <a:pt x="8" y="1"/>
                  </a:cubicBezTo>
                  <a:cubicBezTo>
                    <a:pt x="7" y="1"/>
                    <a:pt x="6" y="1"/>
                    <a:pt x="4" y="1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1" y="5"/>
                    <a:pt x="1" y="6"/>
                    <a:pt x="2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6" y="4"/>
                    <a:pt x="7" y="4"/>
                    <a:pt x="8" y="3"/>
                  </a:cubicBezTo>
                  <a:cubicBezTo>
                    <a:pt x="10" y="2"/>
                    <a:pt x="11" y="1"/>
                    <a:pt x="1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66">
              <a:extLst>
                <a:ext uri="{FF2B5EF4-FFF2-40B4-BE49-F238E27FC236}">
                  <a16:creationId xmlns:a16="http://schemas.microsoft.com/office/drawing/2014/main" id="{6DD8F514-D723-4DA2-B8E1-5A41F683A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" y="4271"/>
              <a:ext cx="10" cy="19"/>
            </a:xfrm>
            <a:custGeom>
              <a:avLst/>
              <a:gdLst>
                <a:gd name="T0" fmla="*/ 3 w 4"/>
                <a:gd name="T1" fmla="*/ 8 h 8"/>
                <a:gd name="T2" fmla="*/ 1 w 4"/>
                <a:gd name="T3" fmla="*/ 6 h 8"/>
                <a:gd name="T4" fmla="*/ 0 w 4"/>
                <a:gd name="T5" fmla="*/ 4 h 8"/>
                <a:gd name="T6" fmla="*/ 1 w 4"/>
                <a:gd name="T7" fmla="*/ 0 h 8"/>
                <a:gd name="T8" fmla="*/ 3 w 4"/>
                <a:gd name="T9" fmla="*/ 1 h 8"/>
                <a:gd name="T10" fmla="*/ 4 w 4"/>
                <a:gd name="T11" fmla="*/ 2 h 8"/>
                <a:gd name="T12" fmla="*/ 4 w 4"/>
                <a:gd name="T13" fmla="*/ 5 h 8"/>
                <a:gd name="T14" fmla="*/ 3 w 4"/>
                <a:gd name="T15" fmla="*/ 8 h 8"/>
                <a:gd name="T16" fmla="*/ 3 w 4"/>
                <a:gd name="T17" fmla="*/ 5 h 8"/>
                <a:gd name="T18" fmla="*/ 3 w 4"/>
                <a:gd name="T19" fmla="*/ 3 h 8"/>
                <a:gd name="T20" fmla="*/ 1 w 4"/>
                <a:gd name="T21" fmla="*/ 1 h 8"/>
                <a:gd name="T22" fmla="*/ 1 w 4"/>
                <a:gd name="T23" fmla="*/ 3 h 8"/>
                <a:gd name="T24" fmla="*/ 1 w 4"/>
                <a:gd name="T25" fmla="*/ 6 h 8"/>
                <a:gd name="T26" fmla="*/ 3 w 4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cubicBezTo>
                    <a:pt x="3" y="8"/>
                    <a:pt x="2" y="8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3" y="8"/>
                    <a:pt x="3" y="7"/>
                    <a:pt x="3" y="5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2"/>
                    <a:pt x="2" y="0"/>
                    <a:pt x="1" y="1"/>
                  </a:cubicBezTo>
                  <a:cubicBezTo>
                    <a:pt x="1" y="1"/>
                    <a:pt x="0" y="3"/>
                    <a:pt x="1" y="3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8"/>
                    <a:pt x="3" y="8"/>
                    <a:pt x="3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67">
              <a:extLst>
                <a:ext uri="{FF2B5EF4-FFF2-40B4-BE49-F238E27FC236}">
                  <a16:creationId xmlns:a16="http://schemas.microsoft.com/office/drawing/2014/main" id="{83A6DCB4-8922-4FD7-A64F-1DB130BC0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4188"/>
              <a:ext cx="23" cy="61"/>
            </a:xfrm>
            <a:custGeom>
              <a:avLst/>
              <a:gdLst>
                <a:gd name="T0" fmla="*/ 10 w 10"/>
                <a:gd name="T1" fmla="*/ 0 h 26"/>
                <a:gd name="T2" fmla="*/ 7 w 10"/>
                <a:gd name="T3" fmla="*/ 3 h 26"/>
                <a:gd name="T4" fmla="*/ 1 w 10"/>
                <a:gd name="T5" fmla="*/ 12 h 26"/>
                <a:gd name="T6" fmla="*/ 2 w 10"/>
                <a:gd name="T7" fmla="*/ 22 h 26"/>
                <a:gd name="T8" fmla="*/ 4 w 10"/>
                <a:gd name="T9" fmla="*/ 26 h 26"/>
                <a:gd name="T10" fmla="*/ 3 w 10"/>
                <a:gd name="T11" fmla="*/ 25 h 26"/>
                <a:gd name="T12" fmla="*/ 1 w 10"/>
                <a:gd name="T13" fmla="*/ 22 h 26"/>
                <a:gd name="T14" fmla="*/ 1 w 10"/>
                <a:gd name="T15" fmla="*/ 12 h 26"/>
                <a:gd name="T16" fmla="*/ 6 w 10"/>
                <a:gd name="T17" fmla="*/ 3 h 26"/>
                <a:gd name="T18" fmla="*/ 9 w 10"/>
                <a:gd name="T19" fmla="*/ 1 h 26"/>
                <a:gd name="T20" fmla="*/ 10 w 10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26">
                  <a:moveTo>
                    <a:pt x="10" y="0"/>
                  </a:moveTo>
                  <a:cubicBezTo>
                    <a:pt x="10" y="0"/>
                    <a:pt x="8" y="1"/>
                    <a:pt x="7" y="3"/>
                  </a:cubicBezTo>
                  <a:cubicBezTo>
                    <a:pt x="5" y="5"/>
                    <a:pt x="2" y="8"/>
                    <a:pt x="1" y="12"/>
                  </a:cubicBezTo>
                  <a:cubicBezTo>
                    <a:pt x="0" y="16"/>
                    <a:pt x="1" y="20"/>
                    <a:pt x="2" y="22"/>
                  </a:cubicBezTo>
                  <a:cubicBezTo>
                    <a:pt x="3" y="25"/>
                    <a:pt x="4" y="26"/>
                    <a:pt x="4" y="26"/>
                  </a:cubicBezTo>
                  <a:cubicBezTo>
                    <a:pt x="4" y="26"/>
                    <a:pt x="3" y="26"/>
                    <a:pt x="3" y="25"/>
                  </a:cubicBezTo>
                  <a:cubicBezTo>
                    <a:pt x="3" y="25"/>
                    <a:pt x="2" y="24"/>
                    <a:pt x="1" y="22"/>
                  </a:cubicBezTo>
                  <a:cubicBezTo>
                    <a:pt x="0" y="20"/>
                    <a:pt x="0" y="16"/>
                    <a:pt x="1" y="12"/>
                  </a:cubicBezTo>
                  <a:cubicBezTo>
                    <a:pt x="2" y="8"/>
                    <a:pt x="4" y="4"/>
                    <a:pt x="6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0"/>
                    <a:pt x="1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68">
              <a:extLst>
                <a:ext uri="{FF2B5EF4-FFF2-40B4-BE49-F238E27FC236}">
                  <a16:creationId xmlns:a16="http://schemas.microsoft.com/office/drawing/2014/main" id="{1F372139-1783-4E44-BC6A-7A244D3DC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4150"/>
              <a:ext cx="38" cy="47"/>
            </a:xfrm>
            <a:custGeom>
              <a:avLst/>
              <a:gdLst>
                <a:gd name="T0" fmla="*/ 1 w 16"/>
                <a:gd name="T1" fmla="*/ 0 h 20"/>
                <a:gd name="T2" fmla="*/ 9 w 16"/>
                <a:gd name="T3" fmla="*/ 10 h 20"/>
                <a:gd name="T4" fmla="*/ 16 w 16"/>
                <a:gd name="T5" fmla="*/ 19 h 20"/>
                <a:gd name="T6" fmla="*/ 8 w 16"/>
                <a:gd name="T7" fmla="*/ 10 h 20"/>
                <a:gd name="T8" fmla="*/ 1 w 1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0">
                  <a:moveTo>
                    <a:pt x="1" y="0"/>
                  </a:moveTo>
                  <a:cubicBezTo>
                    <a:pt x="1" y="0"/>
                    <a:pt x="4" y="4"/>
                    <a:pt x="9" y="10"/>
                  </a:cubicBezTo>
                  <a:cubicBezTo>
                    <a:pt x="13" y="15"/>
                    <a:pt x="16" y="19"/>
                    <a:pt x="16" y="19"/>
                  </a:cubicBezTo>
                  <a:cubicBezTo>
                    <a:pt x="16" y="20"/>
                    <a:pt x="12" y="15"/>
                    <a:pt x="8" y="10"/>
                  </a:cubicBezTo>
                  <a:cubicBezTo>
                    <a:pt x="4" y="5"/>
                    <a:pt x="0" y="1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69">
              <a:extLst>
                <a:ext uri="{FF2B5EF4-FFF2-40B4-BE49-F238E27FC236}">
                  <a16:creationId xmlns:a16="http://schemas.microsoft.com/office/drawing/2014/main" id="{54674C2B-9A9B-4869-A4BA-7F37B3294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4252"/>
              <a:ext cx="33" cy="26"/>
            </a:xfrm>
            <a:custGeom>
              <a:avLst/>
              <a:gdLst>
                <a:gd name="T0" fmla="*/ 13 w 14"/>
                <a:gd name="T1" fmla="*/ 0 h 11"/>
                <a:gd name="T2" fmla="*/ 7 w 14"/>
                <a:gd name="T3" fmla="*/ 6 h 11"/>
                <a:gd name="T4" fmla="*/ 0 w 14"/>
                <a:gd name="T5" fmla="*/ 11 h 11"/>
                <a:gd name="T6" fmla="*/ 7 w 14"/>
                <a:gd name="T7" fmla="*/ 5 h 11"/>
                <a:gd name="T8" fmla="*/ 13 w 1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3" y="0"/>
                  </a:moveTo>
                  <a:cubicBezTo>
                    <a:pt x="14" y="0"/>
                    <a:pt x="11" y="3"/>
                    <a:pt x="7" y="6"/>
                  </a:cubicBezTo>
                  <a:cubicBezTo>
                    <a:pt x="3" y="9"/>
                    <a:pt x="0" y="11"/>
                    <a:pt x="0" y="11"/>
                  </a:cubicBezTo>
                  <a:cubicBezTo>
                    <a:pt x="0" y="11"/>
                    <a:pt x="3" y="8"/>
                    <a:pt x="7" y="5"/>
                  </a:cubicBezTo>
                  <a:cubicBezTo>
                    <a:pt x="10" y="2"/>
                    <a:pt x="13" y="0"/>
                    <a:pt x="1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70">
              <a:extLst>
                <a:ext uri="{FF2B5EF4-FFF2-40B4-BE49-F238E27FC236}">
                  <a16:creationId xmlns:a16="http://schemas.microsoft.com/office/drawing/2014/main" id="{DB442A21-70C9-43DE-BCBF-F47E4D7E9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33"/>
              <a:ext cx="5" cy="9"/>
            </a:xfrm>
            <a:custGeom>
              <a:avLst/>
              <a:gdLst>
                <a:gd name="T0" fmla="*/ 1 w 2"/>
                <a:gd name="T1" fmla="*/ 1 h 4"/>
                <a:gd name="T2" fmla="*/ 1 w 2"/>
                <a:gd name="T3" fmla="*/ 2 h 4"/>
                <a:gd name="T4" fmla="*/ 1 w 2"/>
                <a:gd name="T5" fmla="*/ 4 h 4"/>
                <a:gd name="T6" fmla="*/ 0 w 2"/>
                <a:gd name="T7" fmla="*/ 2 h 4"/>
                <a:gd name="T8" fmla="*/ 1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71">
              <a:extLst>
                <a:ext uri="{FF2B5EF4-FFF2-40B4-BE49-F238E27FC236}">
                  <a16:creationId xmlns:a16="http://schemas.microsoft.com/office/drawing/2014/main" id="{F5DF1359-3B1B-47F4-BB00-6E34C8BF6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4216"/>
              <a:ext cx="2" cy="10"/>
            </a:xfrm>
            <a:custGeom>
              <a:avLst/>
              <a:gdLst>
                <a:gd name="T0" fmla="*/ 1 w 1"/>
                <a:gd name="T1" fmla="*/ 0 h 4"/>
                <a:gd name="T2" fmla="*/ 1 w 1"/>
                <a:gd name="T3" fmla="*/ 2 h 4"/>
                <a:gd name="T4" fmla="*/ 0 w 1"/>
                <a:gd name="T5" fmla="*/ 4 h 4"/>
                <a:gd name="T6" fmla="*/ 0 w 1"/>
                <a:gd name="T7" fmla="*/ 2 h 4"/>
                <a:gd name="T8" fmla="*/ 1 w 1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4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2">
              <a:extLst>
                <a:ext uri="{FF2B5EF4-FFF2-40B4-BE49-F238E27FC236}">
                  <a16:creationId xmlns:a16="http://schemas.microsoft.com/office/drawing/2014/main" id="{FDA35A00-9A73-4FB9-81B3-2063EFFF2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" y="4202"/>
              <a:ext cx="4" cy="9"/>
            </a:xfrm>
            <a:custGeom>
              <a:avLst/>
              <a:gdLst>
                <a:gd name="T0" fmla="*/ 2 w 2"/>
                <a:gd name="T1" fmla="*/ 1 h 4"/>
                <a:gd name="T2" fmla="*/ 1 w 2"/>
                <a:gd name="T3" fmla="*/ 2 h 4"/>
                <a:gd name="T4" fmla="*/ 0 w 2"/>
                <a:gd name="T5" fmla="*/ 4 h 4"/>
                <a:gd name="T6" fmla="*/ 0 w 2"/>
                <a:gd name="T7" fmla="*/ 2 h 4"/>
                <a:gd name="T8" fmla="*/ 2 w 2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73">
              <a:extLst>
                <a:ext uri="{FF2B5EF4-FFF2-40B4-BE49-F238E27FC236}">
                  <a16:creationId xmlns:a16="http://schemas.microsoft.com/office/drawing/2014/main" id="{545EA4C6-229C-4CBB-9400-1D85570F1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4" y="4195"/>
              <a:ext cx="2" cy="5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0 w 1"/>
                <a:gd name="T5" fmla="*/ 2 h 2"/>
                <a:gd name="T6" fmla="*/ 0 w 1"/>
                <a:gd name="T7" fmla="*/ 1 h 2"/>
                <a:gd name="T8" fmla="*/ 1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Rectangle 274">
              <a:extLst>
                <a:ext uri="{FF2B5EF4-FFF2-40B4-BE49-F238E27FC236}">
                  <a16:creationId xmlns:a16="http://schemas.microsoft.com/office/drawing/2014/main" id="{39B1AD9E-1C5D-42AA-BF92-751922AEA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9" y="4178"/>
              <a:ext cx="1" cy="1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275">
              <a:extLst>
                <a:ext uri="{FF2B5EF4-FFF2-40B4-BE49-F238E27FC236}">
                  <a16:creationId xmlns:a16="http://schemas.microsoft.com/office/drawing/2014/main" id="{9B3F1418-C09E-4C6B-A578-481EF25C9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417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76">
              <a:extLst>
                <a:ext uri="{FF2B5EF4-FFF2-40B4-BE49-F238E27FC236}">
                  <a16:creationId xmlns:a16="http://schemas.microsoft.com/office/drawing/2014/main" id="{5EE9FBAF-9A0A-4E92-B643-3B1B90B5A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" y="4178"/>
              <a:ext cx="17" cy="14"/>
            </a:xfrm>
            <a:custGeom>
              <a:avLst/>
              <a:gdLst>
                <a:gd name="T0" fmla="*/ 5 w 7"/>
                <a:gd name="T1" fmla="*/ 0 h 6"/>
                <a:gd name="T2" fmla="*/ 0 w 7"/>
                <a:gd name="T3" fmla="*/ 3 h 6"/>
                <a:gd name="T4" fmla="*/ 2 w 7"/>
                <a:gd name="T5" fmla="*/ 6 h 6"/>
                <a:gd name="T6" fmla="*/ 7 w 7"/>
                <a:gd name="T7" fmla="*/ 3 h 6"/>
                <a:gd name="T8" fmla="*/ 5 w 7"/>
                <a:gd name="T9" fmla="*/ 0 h 6"/>
                <a:gd name="T10" fmla="*/ 5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5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77">
              <a:extLst>
                <a:ext uri="{FF2B5EF4-FFF2-40B4-BE49-F238E27FC236}">
                  <a16:creationId xmlns:a16="http://schemas.microsoft.com/office/drawing/2014/main" id="{45955C7C-4F2B-4782-8240-CF59E304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259"/>
              <a:ext cx="9" cy="12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5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78">
              <a:extLst>
                <a:ext uri="{FF2B5EF4-FFF2-40B4-BE49-F238E27FC236}">
                  <a16:creationId xmlns:a16="http://schemas.microsoft.com/office/drawing/2014/main" id="{5F303494-7F23-4E1D-A921-D69FDE2D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4185"/>
              <a:ext cx="111" cy="86"/>
            </a:xfrm>
            <a:custGeom>
              <a:avLst/>
              <a:gdLst>
                <a:gd name="T0" fmla="*/ 44 w 47"/>
                <a:gd name="T1" fmla="*/ 0 h 36"/>
                <a:gd name="T2" fmla="*/ 0 w 47"/>
                <a:gd name="T3" fmla="*/ 30 h 36"/>
                <a:gd name="T4" fmla="*/ 0 w 47"/>
                <a:gd name="T5" fmla="*/ 31 h 36"/>
                <a:gd name="T6" fmla="*/ 4 w 47"/>
                <a:gd name="T7" fmla="*/ 36 h 36"/>
                <a:gd name="T8" fmla="*/ 7 w 47"/>
                <a:gd name="T9" fmla="*/ 34 h 36"/>
                <a:gd name="T10" fmla="*/ 10 w 47"/>
                <a:gd name="T11" fmla="*/ 31 h 36"/>
                <a:gd name="T12" fmla="*/ 10 w 47"/>
                <a:gd name="T13" fmla="*/ 31 h 36"/>
                <a:gd name="T14" fmla="*/ 9 w 47"/>
                <a:gd name="T15" fmla="*/ 32 h 36"/>
                <a:gd name="T16" fmla="*/ 47 w 47"/>
                <a:gd name="T17" fmla="*/ 3 h 36"/>
                <a:gd name="T18" fmla="*/ 44 w 47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6">
                  <a:moveTo>
                    <a:pt x="44" y="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5" y="36"/>
                    <a:pt x="6" y="35"/>
                    <a:pt x="7" y="34"/>
                  </a:cubicBezTo>
                  <a:cubicBezTo>
                    <a:pt x="8" y="32"/>
                    <a:pt x="9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2"/>
                    <a:pt x="9" y="3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5" y="2"/>
                    <a:pt x="4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9">
              <a:extLst>
                <a:ext uri="{FF2B5EF4-FFF2-40B4-BE49-F238E27FC236}">
                  <a16:creationId xmlns:a16="http://schemas.microsoft.com/office/drawing/2014/main" id="{A56AF76B-43E2-4115-8EB2-B7C41F5C8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4259"/>
              <a:ext cx="14" cy="12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3 h 5"/>
                <a:gd name="T4" fmla="*/ 0 w 6"/>
                <a:gd name="T5" fmla="*/ 5 h 5"/>
                <a:gd name="T6" fmla="*/ 0 w 6"/>
                <a:gd name="T7" fmla="*/ 5 h 5"/>
                <a:gd name="T8" fmla="*/ 0 w 6"/>
                <a:gd name="T9" fmla="*/ 5 h 5"/>
                <a:gd name="T10" fmla="*/ 5 w 6"/>
                <a:gd name="T11" fmla="*/ 1 h 5"/>
                <a:gd name="T12" fmla="*/ 6 w 6"/>
                <a:gd name="T13" fmla="*/ 0 h 5"/>
                <a:gd name="T14" fmla="*/ 6 w 6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cubicBezTo>
                    <a:pt x="5" y="0"/>
                    <a:pt x="4" y="1"/>
                    <a:pt x="3" y="3"/>
                  </a:cubicBezTo>
                  <a:cubicBezTo>
                    <a:pt x="2" y="4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0">
              <a:extLst>
                <a:ext uri="{FF2B5EF4-FFF2-40B4-BE49-F238E27FC236}">
                  <a16:creationId xmlns:a16="http://schemas.microsoft.com/office/drawing/2014/main" id="{8F6ADEFE-484C-4C8B-A08E-09F0745E2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" y="4185"/>
              <a:ext cx="7" cy="7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81">
              <a:extLst>
                <a:ext uri="{FF2B5EF4-FFF2-40B4-BE49-F238E27FC236}">
                  <a16:creationId xmlns:a16="http://schemas.microsoft.com/office/drawing/2014/main" id="{C64D1DBE-04D3-4956-8B68-3CAB31A0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8" y="4264"/>
              <a:ext cx="264" cy="121"/>
            </a:xfrm>
            <a:custGeom>
              <a:avLst/>
              <a:gdLst>
                <a:gd name="T0" fmla="*/ 51 w 111"/>
                <a:gd name="T1" fmla="*/ 32 h 51"/>
                <a:gd name="T2" fmla="*/ 51 w 111"/>
                <a:gd name="T3" fmla="*/ 1 h 51"/>
                <a:gd name="T4" fmla="*/ 111 w 111"/>
                <a:gd name="T5" fmla="*/ 0 h 51"/>
                <a:gd name="T6" fmla="*/ 111 w 111"/>
                <a:gd name="T7" fmla="*/ 47 h 51"/>
                <a:gd name="T8" fmla="*/ 107 w 111"/>
                <a:gd name="T9" fmla="*/ 47 h 51"/>
                <a:gd name="T10" fmla="*/ 13 w 111"/>
                <a:gd name="T11" fmla="*/ 48 h 51"/>
                <a:gd name="T12" fmla="*/ 51 w 111"/>
                <a:gd name="T13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51">
                  <a:moveTo>
                    <a:pt x="51" y="32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1" y="48"/>
                    <a:pt x="24" y="51"/>
                    <a:pt x="13" y="48"/>
                  </a:cubicBezTo>
                  <a:cubicBezTo>
                    <a:pt x="0" y="44"/>
                    <a:pt x="51" y="32"/>
                    <a:pt x="51" y="3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2">
              <a:extLst>
                <a:ext uri="{FF2B5EF4-FFF2-40B4-BE49-F238E27FC236}">
                  <a16:creationId xmlns:a16="http://schemas.microsoft.com/office/drawing/2014/main" id="{7603DE46-5AB1-4BC4-B045-A38E6F40D3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2" y="4356"/>
              <a:ext cx="38" cy="19"/>
            </a:xfrm>
            <a:custGeom>
              <a:avLst/>
              <a:gdLst>
                <a:gd name="T0" fmla="*/ 1 w 16"/>
                <a:gd name="T1" fmla="*/ 7 h 8"/>
                <a:gd name="T2" fmla="*/ 1 w 16"/>
                <a:gd name="T3" fmla="*/ 8 h 8"/>
                <a:gd name="T4" fmla="*/ 1 w 16"/>
                <a:gd name="T5" fmla="*/ 8 h 8"/>
                <a:gd name="T6" fmla="*/ 1 w 16"/>
                <a:gd name="T7" fmla="*/ 8 h 8"/>
                <a:gd name="T8" fmla="*/ 1 w 16"/>
                <a:gd name="T9" fmla="*/ 7 h 8"/>
                <a:gd name="T10" fmla="*/ 16 w 16"/>
                <a:gd name="T11" fmla="*/ 0 h 8"/>
                <a:gd name="T12" fmla="*/ 12 w 16"/>
                <a:gd name="T13" fmla="*/ 1 h 8"/>
                <a:gd name="T14" fmla="*/ 16 w 16"/>
                <a:gd name="T15" fmla="*/ 0 h 8"/>
                <a:gd name="T16" fmla="*/ 16 w 16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8">
                  <a:moveTo>
                    <a:pt x="1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7"/>
                    <a:pt x="1" y="7"/>
                  </a:cubicBezTo>
                  <a:moveTo>
                    <a:pt x="16" y="0"/>
                  </a:moveTo>
                  <a:cubicBezTo>
                    <a:pt x="16" y="0"/>
                    <a:pt x="14" y="1"/>
                    <a:pt x="12" y="1"/>
                  </a:cubicBezTo>
                  <a:cubicBezTo>
                    <a:pt x="13" y="1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83">
              <a:extLst>
                <a:ext uri="{FF2B5EF4-FFF2-40B4-BE49-F238E27FC236}">
                  <a16:creationId xmlns:a16="http://schemas.microsoft.com/office/drawing/2014/main" id="{95326F35-DDF9-42EF-8B2D-0B06AB019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5"/>
              <a:ext cx="4" cy="3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84">
              <a:extLst>
                <a:ext uri="{FF2B5EF4-FFF2-40B4-BE49-F238E27FC236}">
                  <a16:creationId xmlns:a16="http://schemas.microsoft.com/office/drawing/2014/main" id="{25499AF4-92B8-432B-B8D0-D163E4E9B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4375"/>
              <a:ext cx="12" cy="0"/>
            </a:xfrm>
            <a:custGeom>
              <a:avLst/>
              <a:gdLst>
                <a:gd name="T0" fmla="*/ 5 w 5"/>
                <a:gd name="T1" fmla="*/ 1 w 5"/>
                <a:gd name="T2" fmla="*/ 0 w 5"/>
                <a:gd name="T3" fmla="*/ 1 w 5"/>
                <a:gd name="T4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85">
              <a:extLst>
                <a:ext uri="{FF2B5EF4-FFF2-40B4-BE49-F238E27FC236}">
                  <a16:creationId xmlns:a16="http://schemas.microsoft.com/office/drawing/2014/main" id="{F9636D6B-90CA-492D-AD0D-E124729BC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" y="4375"/>
              <a:ext cx="125" cy="5"/>
            </a:xfrm>
            <a:custGeom>
              <a:avLst/>
              <a:gdLst>
                <a:gd name="T0" fmla="*/ 52 w 53"/>
                <a:gd name="T1" fmla="*/ 0 h 2"/>
                <a:gd name="T2" fmla="*/ 0 w 53"/>
                <a:gd name="T3" fmla="*/ 2 h 2"/>
                <a:gd name="T4" fmla="*/ 53 w 53"/>
                <a:gd name="T5" fmla="*/ 0 h 2"/>
                <a:gd name="T6" fmla="*/ 52 w 5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">
                  <a:moveTo>
                    <a:pt x="52" y="0"/>
                  </a:moveTo>
                  <a:cubicBezTo>
                    <a:pt x="42" y="1"/>
                    <a:pt x="20" y="2"/>
                    <a:pt x="0" y="2"/>
                  </a:cubicBezTo>
                  <a:cubicBezTo>
                    <a:pt x="18" y="2"/>
                    <a:pt x="39" y="1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</a:path>
              </a:pathLst>
            </a:custGeom>
            <a:solidFill>
              <a:srgbClr val="7D8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86">
              <a:extLst>
                <a:ext uri="{FF2B5EF4-FFF2-40B4-BE49-F238E27FC236}">
                  <a16:creationId xmlns:a16="http://schemas.microsoft.com/office/drawing/2014/main" id="{6ECD68C1-2B2B-4063-946A-F6E0EBF02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" y="4356"/>
              <a:ext cx="240" cy="24"/>
            </a:xfrm>
            <a:custGeom>
              <a:avLst/>
              <a:gdLst>
                <a:gd name="T0" fmla="*/ 16 w 101"/>
                <a:gd name="T1" fmla="*/ 0 h 10"/>
                <a:gd name="T2" fmla="*/ 12 w 101"/>
                <a:gd name="T3" fmla="*/ 1 h 10"/>
                <a:gd name="T4" fmla="*/ 1 w 101"/>
                <a:gd name="T5" fmla="*/ 7 h 10"/>
                <a:gd name="T6" fmla="*/ 1 w 101"/>
                <a:gd name="T7" fmla="*/ 8 h 10"/>
                <a:gd name="T8" fmla="*/ 3 w 101"/>
                <a:gd name="T9" fmla="*/ 9 h 10"/>
                <a:gd name="T10" fmla="*/ 3 w 101"/>
                <a:gd name="T11" fmla="*/ 9 h 10"/>
                <a:gd name="T12" fmla="*/ 38 w 101"/>
                <a:gd name="T13" fmla="*/ 10 h 10"/>
                <a:gd name="T14" fmla="*/ 44 w 101"/>
                <a:gd name="T15" fmla="*/ 10 h 10"/>
                <a:gd name="T16" fmla="*/ 96 w 101"/>
                <a:gd name="T17" fmla="*/ 8 h 10"/>
                <a:gd name="T18" fmla="*/ 97 w 101"/>
                <a:gd name="T19" fmla="*/ 8 h 10"/>
                <a:gd name="T20" fmla="*/ 101 w 101"/>
                <a:gd name="T21" fmla="*/ 8 h 10"/>
                <a:gd name="T22" fmla="*/ 101 w 101"/>
                <a:gd name="T23" fmla="*/ 8 h 10"/>
                <a:gd name="T24" fmla="*/ 101 w 101"/>
                <a:gd name="T25" fmla="*/ 7 h 10"/>
                <a:gd name="T26" fmla="*/ 79 w 101"/>
                <a:gd name="T27" fmla="*/ 7 h 10"/>
                <a:gd name="T28" fmla="*/ 79 w 101"/>
                <a:gd name="T29" fmla="*/ 7 h 10"/>
                <a:gd name="T30" fmla="*/ 79 w 101"/>
                <a:gd name="T31" fmla="*/ 7 h 10"/>
                <a:gd name="T32" fmla="*/ 79 w 101"/>
                <a:gd name="T33" fmla="*/ 7 h 10"/>
                <a:gd name="T34" fmla="*/ 21 w 101"/>
                <a:gd name="T35" fmla="*/ 8 h 10"/>
                <a:gd name="T36" fmla="*/ 16 w 101"/>
                <a:gd name="T3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" h="10">
                  <a:moveTo>
                    <a:pt x="16" y="0"/>
                  </a:moveTo>
                  <a:cubicBezTo>
                    <a:pt x="15" y="0"/>
                    <a:pt x="13" y="1"/>
                    <a:pt x="12" y="1"/>
                  </a:cubicBezTo>
                  <a:cubicBezTo>
                    <a:pt x="8" y="3"/>
                    <a:pt x="2" y="5"/>
                    <a:pt x="1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8" y="10"/>
                    <a:pt x="22" y="10"/>
                    <a:pt x="38" y="10"/>
                  </a:cubicBezTo>
                  <a:cubicBezTo>
                    <a:pt x="40" y="10"/>
                    <a:pt x="42" y="10"/>
                    <a:pt x="44" y="10"/>
                  </a:cubicBezTo>
                  <a:cubicBezTo>
                    <a:pt x="64" y="10"/>
                    <a:pt x="86" y="9"/>
                    <a:pt x="96" y="8"/>
                  </a:cubicBezTo>
                  <a:cubicBezTo>
                    <a:pt x="96" y="8"/>
                    <a:pt x="97" y="8"/>
                    <a:pt x="97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0" y="0"/>
                    <a:pt x="16" y="0"/>
                  </a:cubicBezTo>
                </a:path>
              </a:pathLst>
            </a:custGeom>
            <a:solidFill>
              <a:srgbClr val="F196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87">
              <a:extLst>
                <a:ext uri="{FF2B5EF4-FFF2-40B4-BE49-F238E27FC236}">
                  <a16:creationId xmlns:a16="http://schemas.microsoft.com/office/drawing/2014/main" id="{33A742B7-5AB8-411E-8EF4-427F7B3F5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4373"/>
              <a:ext cx="239" cy="2"/>
            </a:xfrm>
            <a:custGeom>
              <a:avLst/>
              <a:gdLst>
                <a:gd name="T0" fmla="*/ 101 w 101"/>
                <a:gd name="T1" fmla="*/ 0 h 1"/>
                <a:gd name="T2" fmla="*/ 100 w 101"/>
                <a:gd name="T3" fmla="*/ 0 h 1"/>
                <a:gd name="T4" fmla="*/ 97 w 101"/>
                <a:gd name="T5" fmla="*/ 0 h 1"/>
                <a:gd name="T6" fmla="*/ 86 w 101"/>
                <a:gd name="T7" fmla="*/ 0 h 1"/>
                <a:gd name="T8" fmla="*/ 50 w 101"/>
                <a:gd name="T9" fmla="*/ 1 h 1"/>
                <a:gd name="T10" fmla="*/ 14 w 101"/>
                <a:gd name="T11" fmla="*/ 1 h 1"/>
                <a:gd name="T12" fmla="*/ 4 w 101"/>
                <a:gd name="T13" fmla="*/ 0 h 1"/>
                <a:gd name="T14" fmla="*/ 1 w 101"/>
                <a:gd name="T15" fmla="*/ 0 h 1"/>
                <a:gd name="T16" fmla="*/ 0 w 101"/>
                <a:gd name="T17" fmla="*/ 0 h 1"/>
                <a:gd name="T18" fmla="*/ 1 w 101"/>
                <a:gd name="T19" fmla="*/ 0 h 1"/>
                <a:gd name="T20" fmla="*/ 4 w 101"/>
                <a:gd name="T21" fmla="*/ 0 h 1"/>
                <a:gd name="T22" fmla="*/ 14 w 101"/>
                <a:gd name="T23" fmla="*/ 0 h 1"/>
                <a:gd name="T24" fmla="*/ 50 w 101"/>
                <a:gd name="T25" fmla="*/ 0 h 1"/>
                <a:gd name="T26" fmla="*/ 86 w 101"/>
                <a:gd name="T27" fmla="*/ 0 h 1"/>
                <a:gd name="T28" fmla="*/ 97 w 101"/>
                <a:gd name="T29" fmla="*/ 0 h 1"/>
                <a:gd name="T30" fmla="*/ 100 w 101"/>
                <a:gd name="T31" fmla="*/ 0 h 1"/>
                <a:gd name="T32" fmla="*/ 101 w 101"/>
                <a:gd name="T3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1">
                  <a:moveTo>
                    <a:pt x="101" y="0"/>
                  </a:moveTo>
                  <a:cubicBezTo>
                    <a:pt x="101" y="0"/>
                    <a:pt x="100" y="0"/>
                    <a:pt x="100" y="0"/>
                  </a:cubicBezTo>
                  <a:cubicBezTo>
                    <a:pt x="99" y="0"/>
                    <a:pt x="98" y="0"/>
                    <a:pt x="97" y="0"/>
                  </a:cubicBezTo>
                  <a:cubicBezTo>
                    <a:pt x="94" y="0"/>
                    <a:pt x="90" y="0"/>
                    <a:pt x="86" y="0"/>
                  </a:cubicBezTo>
                  <a:cubicBezTo>
                    <a:pt x="77" y="1"/>
                    <a:pt x="64" y="1"/>
                    <a:pt x="50" y="1"/>
                  </a:cubicBezTo>
                  <a:cubicBezTo>
                    <a:pt x="36" y="1"/>
                    <a:pt x="24" y="1"/>
                    <a:pt x="14" y="1"/>
                  </a:cubicBezTo>
                  <a:cubicBezTo>
                    <a:pt x="10" y="1"/>
                    <a:pt x="6" y="0"/>
                    <a:pt x="4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6" y="0"/>
                    <a:pt x="10" y="0"/>
                    <a:pt x="14" y="0"/>
                  </a:cubicBezTo>
                  <a:cubicBezTo>
                    <a:pt x="24" y="0"/>
                    <a:pt x="36" y="1"/>
                    <a:pt x="50" y="0"/>
                  </a:cubicBezTo>
                  <a:cubicBezTo>
                    <a:pt x="64" y="0"/>
                    <a:pt x="77" y="0"/>
                    <a:pt x="86" y="0"/>
                  </a:cubicBezTo>
                  <a:cubicBezTo>
                    <a:pt x="90" y="0"/>
                    <a:pt x="94" y="0"/>
                    <a:pt x="97" y="0"/>
                  </a:cubicBezTo>
                  <a:cubicBezTo>
                    <a:pt x="98" y="0"/>
                    <a:pt x="99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8">
              <a:extLst>
                <a:ext uri="{FF2B5EF4-FFF2-40B4-BE49-F238E27FC236}">
                  <a16:creationId xmlns:a16="http://schemas.microsoft.com/office/drawing/2014/main" id="{B453E904-3EE8-4CD7-9F1E-5B6287A3E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" y="4354"/>
              <a:ext cx="14" cy="24"/>
            </a:xfrm>
            <a:custGeom>
              <a:avLst/>
              <a:gdLst>
                <a:gd name="T0" fmla="*/ 5 w 6"/>
                <a:gd name="T1" fmla="*/ 10 h 10"/>
                <a:gd name="T2" fmla="*/ 3 w 6"/>
                <a:gd name="T3" fmla="*/ 4 h 10"/>
                <a:gd name="T4" fmla="*/ 0 w 6"/>
                <a:gd name="T5" fmla="*/ 0 h 10"/>
                <a:gd name="T6" fmla="*/ 4 w 6"/>
                <a:gd name="T7" fmla="*/ 4 h 10"/>
                <a:gd name="T8" fmla="*/ 5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5" y="10"/>
                  </a:moveTo>
                  <a:cubicBezTo>
                    <a:pt x="5" y="10"/>
                    <a:pt x="5" y="7"/>
                    <a:pt x="3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4" y="4"/>
                  </a:cubicBezTo>
                  <a:cubicBezTo>
                    <a:pt x="6" y="7"/>
                    <a:pt x="6" y="10"/>
                    <a:pt x="5" y="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89">
              <a:extLst>
                <a:ext uri="{FF2B5EF4-FFF2-40B4-BE49-F238E27FC236}">
                  <a16:creationId xmlns:a16="http://schemas.microsoft.com/office/drawing/2014/main" id="{255A9C5E-B2E0-4D8D-9166-4C2141188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8" y="4344"/>
              <a:ext cx="7" cy="12"/>
            </a:xfrm>
            <a:custGeom>
              <a:avLst/>
              <a:gdLst>
                <a:gd name="T0" fmla="*/ 3 w 3"/>
                <a:gd name="T1" fmla="*/ 5 h 5"/>
                <a:gd name="T2" fmla="*/ 1 w 3"/>
                <a:gd name="T3" fmla="*/ 2 h 5"/>
                <a:gd name="T4" fmla="*/ 0 w 3"/>
                <a:gd name="T5" fmla="*/ 0 h 5"/>
                <a:gd name="T6" fmla="*/ 2 w 3"/>
                <a:gd name="T7" fmla="*/ 2 h 5"/>
                <a:gd name="T8" fmla="*/ 3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2" y="2"/>
                  </a:cubicBezTo>
                  <a:cubicBezTo>
                    <a:pt x="3" y="3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90">
              <a:extLst>
                <a:ext uri="{FF2B5EF4-FFF2-40B4-BE49-F238E27FC236}">
                  <a16:creationId xmlns:a16="http://schemas.microsoft.com/office/drawing/2014/main" id="{F54B0607-A077-42CB-B71F-7D13FFFD6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" y="4342"/>
              <a:ext cx="10" cy="7"/>
            </a:xfrm>
            <a:custGeom>
              <a:avLst/>
              <a:gdLst>
                <a:gd name="T0" fmla="*/ 4 w 4"/>
                <a:gd name="T1" fmla="*/ 3 h 3"/>
                <a:gd name="T2" fmla="*/ 2 w 4"/>
                <a:gd name="T3" fmla="*/ 2 h 3"/>
                <a:gd name="T4" fmla="*/ 0 w 4"/>
                <a:gd name="T5" fmla="*/ 0 h 3"/>
                <a:gd name="T6" fmla="*/ 2 w 4"/>
                <a:gd name="T7" fmla="*/ 1 h 3"/>
                <a:gd name="T8" fmla="*/ 4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cubicBezTo>
                    <a:pt x="4" y="3"/>
                    <a:pt x="3" y="3"/>
                    <a:pt x="2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2"/>
                    <a:pt x="4" y="3"/>
                    <a:pt x="4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Oval 291">
              <a:extLst>
                <a:ext uri="{FF2B5EF4-FFF2-40B4-BE49-F238E27FC236}">
                  <a16:creationId xmlns:a16="http://schemas.microsoft.com/office/drawing/2014/main" id="{34DD542A-9603-4B17-826A-164D1CA642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9" y="4335"/>
              <a:ext cx="15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2">
              <a:extLst>
                <a:ext uri="{FF2B5EF4-FFF2-40B4-BE49-F238E27FC236}">
                  <a16:creationId xmlns:a16="http://schemas.microsoft.com/office/drawing/2014/main" id="{54814C82-E606-4042-B877-7A1590335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5"/>
            </a:xfrm>
            <a:custGeom>
              <a:avLst/>
              <a:gdLst>
                <a:gd name="T0" fmla="*/ 7 w 7"/>
                <a:gd name="T1" fmla="*/ 0 h 2"/>
                <a:gd name="T2" fmla="*/ 3 w 7"/>
                <a:gd name="T3" fmla="*/ 1 h 2"/>
                <a:gd name="T4" fmla="*/ 0 w 7"/>
                <a:gd name="T5" fmla="*/ 1 h 2"/>
                <a:gd name="T6" fmla="*/ 3 w 7"/>
                <a:gd name="T7" fmla="*/ 1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cubicBezTo>
                    <a:pt x="7" y="1"/>
                    <a:pt x="5" y="1"/>
                    <a:pt x="3" y="1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1" y="1"/>
                    <a:pt x="3" y="1"/>
                  </a:cubicBezTo>
                  <a:cubicBezTo>
                    <a:pt x="5" y="1"/>
                    <a:pt x="7" y="0"/>
                    <a:pt x="7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93">
              <a:extLst>
                <a:ext uri="{FF2B5EF4-FFF2-40B4-BE49-F238E27FC236}">
                  <a16:creationId xmlns:a16="http://schemas.microsoft.com/office/drawing/2014/main" id="{19E7F32F-795C-46B1-9089-C4E26F50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4" y="4328"/>
              <a:ext cx="26" cy="16"/>
            </a:xfrm>
            <a:custGeom>
              <a:avLst/>
              <a:gdLst>
                <a:gd name="T0" fmla="*/ 11 w 11"/>
                <a:gd name="T1" fmla="*/ 6 h 7"/>
                <a:gd name="T2" fmla="*/ 7 w 11"/>
                <a:gd name="T3" fmla="*/ 6 h 7"/>
                <a:gd name="T4" fmla="*/ 3 w 11"/>
                <a:gd name="T5" fmla="*/ 6 h 7"/>
                <a:gd name="T6" fmla="*/ 1 w 11"/>
                <a:gd name="T7" fmla="*/ 5 h 7"/>
                <a:gd name="T8" fmla="*/ 0 w 11"/>
                <a:gd name="T9" fmla="*/ 3 h 7"/>
                <a:gd name="T10" fmla="*/ 0 w 11"/>
                <a:gd name="T11" fmla="*/ 2 h 7"/>
                <a:gd name="T12" fmla="*/ 9 w 11"/>
                <a:gd name="T13" fmla="*/ 4 h 7"/>
                <a:gd name="T14" fmla="*/ 10 w 11"/>
                <a:gd name="T15" fmla="*/ 6 h 7"/>
                <a:gd name="T16" fmla="*/ 10 w 11"/>
                <a:gd name="T17" fmla="*/ 7 h 7"/>
                <a:gd name="T18" fmla="*/ 9 w 11"/>
                <a:gd name="T19" fmla="*/ 4 h 7"/>
                <a:gd name="T20" fmla="*/ 5 w 11"/>
                <a:gd name="T21" fmla="*/ 2 h 7"/>
                <a:gd name="T22" fmla="*/ 1 w 11"/>
                <a:gd name="T23" fmla="*/ 2 h 7"/>
                <a:gd name="T24" fmla="*/ 1 w 11"/>
                <a:gd name="T25" fmla="*/ 4 h 7"/>
                <a:gd name="T26" fmla="*/ 3 w 11"/>
                <a:gd name="T27" fmla="*/ 5 h 7"/>
                <a:gd name="T28" fmla="*/ 7 w 11"/>
                <a:gd name="T29" fmla="*/ 6 h 7"/>
                <a:gd name="T30" fmla="*/ 11 w 11"/>
                <a:gd name="T3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7">
                  <a:moveTo>
                    <a:pt x="11" y="6"/>
                  </a:moveTo>
                  <a:cubicBezTo>
                    <a:pt x="11" y="6"/>
                    <a:pt x="9" y="7"/>
                    <a:pt x="7" y="6"/>
                  </a:cubicBezTo>
                  <a:cubicBezTo>
                    <a:pt x="6" y="6"/>
                    <a:pt x="5" y="6"/>
                    <a:pt x="3" y="6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4" y="0"/>
                    <a:pt x="8" y="2"/>
                    <a:pt x="9" y="4"/>
                  </a:cubicBezTo>
                  <a:cubicBezTo>
                    <a:pt x="10" y="5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6"/>
                    <a:pt x="9" y="4"/>
                  </a:cubicBezTo>
                  <a:cubicBezTo>
                    <a:pt x="8" y="3"/>
                    <a:pt x="7" y="2"/>
                    <a:pt x="5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6" y="6"/>
                    <a:pt x="7" y="6"/>
                  </a:cubicBezTo>
                  <a:cubicBezTo>
                    <a:pt x="9" y="6"/>
                    <a:pt x="11" y="6"/>
                    <a:pt x="11" y="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294">
              <a:extLst>
                <a:ext uri="{FF2B5EF4-FFF2-40B4-BE49-F238E27FC236}">
                  <a16:creationId xmlns:a16="http://schemas.microsoft.com/office/drawing/2014/main" id="{DC23A9E0-4092-4A4B-A842-8808911BA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" y="4325"/>
              <a:ext cx="14" cy="19"/>
            </a:xfrm>
            <a:custGeom>
              <a:avLst/>
              <a:gdLst>
                <a:gd name="T0" fmla="*/ 1 w 6"/>
                <a:gd name="T1" fmla="*/ 8 h 8"/>
                <a:gd name="T2" fmla="*/ 0 w 6"/>
                <a:gd name="T3" fmla="*/ 5 h 8"/>
                <a:gd name="T4" fmla="*/ 2 w 6"/>
                <a:gd name="T5" fmla="*/ 2 h 8"/>
                <a:gd name="T6" fmla="*/ 5 w 6"/>
                <a:gd name="T7" fmla="*/ 0 h 8"/>
                <a:gd name="T8" fmla="*/ 6 w 6"/>
                <a:gd name="T9" fmla="*/ 2 h 8"/>
                <a:gd name="T10" fmla="*/ 5 w 6"/>
                <a:gd name="T11" fmla="*/ 4 h 8"/>
                <a:gd name="T12" fmla="*/ 3 w 6"/>
                <a:gd name="T13" fmla="*/ 6 h 8"/>
                <a:gd name="T14" fmla="*/ 1 w 6"/>
                <a:gd name="T15" fmla="*/ 8 h 8"/>
                <a:gd name="T16" fmla="*/ 3 w 6"/>
                <a:gd name="T17" fmla="*/ 6 h 8"/>
                <a:gd name="T18" fmla="*/ 5 w 6"/>
                <a:gd name="T19" fmla="*/ 3 h 8"/>
                <a:gd name="T20" fmla="*/ 5 w 6"/>
                <a:gd name="T21" fmla="*/ 1 h 8"/>
                <a:gd name="T22" fmla="*/ 2 w 6"/>
                <a:gd name="T23" fmla="*/ 3 h 8"/>
                <a:gd name="T24" fmla="*/ 1 w 6"/>
                <a:gd name="T25" fmla="*/ 5 h 8"/>
                <a:gd name="T26" fmla="*/ 1 w 6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8">
                  <a:moveTo>
                    <a:pt x="1" y="8"/>
                  </a:moveTo>
                  <a:cubicBezTo>
                    <a:pt x="1" y="8"/>
                    <a:pt x="0" y="7"/>
                    <a:pt x="0" y="5"/>
                  </a:cubicBezTo>
                  <a:cubicBezTo>
                    <a:pt x="1" y="4"/>
                    <a:pt x="1" y="3"/>
                    <a:pt x="2" y="2"/>
                  </a:cubicBezTo>
                  <a:cubicBezTo>
                    <a:pt x="2" y="1"/>
                    <a:pt x="3" y="0"/>
                    <a:pt x="5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6" y="3"/>
                    <a:pt x="6" y="3"/>
                    <a:pt x="5" y="4"/>
                  </a:cubicBezTo>
                  <a:cubicBezTo>
                    <a:pt x="5" y="5"/>
                    <a:pt x="4" y="5"/>
                    <a:pt x="3" y="6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4" y="5"/>
                    <a:pt x="4" y="4"/>
                    <a:pt x="5" y="3"/>
                  </a:cubicBezTo>
                  <a:cubicBezTo>
                    <a:pt x="5" y="3"/>
                    <a:pt x="6" y="1"/>
                    <a:pt x="5" y="1"/>
                  </a:cubicBezTo>
                  <a:cubicBezTo>
                    <a:pt x="4" y="1"/>
                    <a:pt x="3" y="2"/>
                    <a:pt x="2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7"/>
                    <a:pt x="1" y="8"/>
                    <a:pt x="1" y="8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95">
              <a:extLst>
                <a:ext uri="{FF2B5EF4-FFF2-40B4-BE49-F238E27FC236}">
                  <a16:creationId xmlns:a16="http://schemas.microsoft.com/office/drawing/2014/main" id="{2AD6E48D-BE54-468D-BE13-EFEAFD2B7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" y="4333"/>
              <a:ext cx="49" cy="40"/>
            </a:xfrm>
            <a:custGeom>
              <a:avLst/>
              <a:gdLst>
                <a:gd name="T0" fmla="*/ 21 w 21"/>
                <a:gd name="T1" fmla="*/ 0 h 17"/>
                <a:gd name="T2" fmla="*/ 21 w 21"/>
                <a:gd name="T3" fmla="*/ 0 h 17"/>
                <a:gd name="T4" fmla="*/ 17 w 21"/>
                <a:gd name="T5" fmla="*/ 0 h 17"/>
                <a:gd name="T6" fmla="*/ 7 w 21"/>
                <a:gd name="T7" fmla="*/ 4 h 17"/>
                <a:gd name="T8" fmla="*/ 1 w 21"/>
                <a:gd name="T9" fmla="*/ 13 h 17"/>
                <a:gd name="T10" fmla="*/ 0 w 21"/>
                <a:gd name="T11" fmla="*/ 17 h 17"/>
                <a:gd name="T12" fmla="*/ 0 w 21"/>
                <a:gd name="T13" fmla="*/ 16 h 17"/>
                <a:gd name="T14" fmla="*/ 1 w 21"/>
                <a:gd name="T15" fmla="*/ 13 h 17"/>
                <a:gd name="T16" fmla="*/ 7 w 21"/>
                <a:gd name="T17" fmla="*/ 4 h 17"/>
                <a:gd name="T18" fmla="*/ 17 w 21"/>
                <a:gd name="T19" fmla="*/ 0 h 17"/>
                <a:gd name="T20" fmla="*/ 20 w 21"/>
                <a:gd name="T21" fmla="*/ 0 h 17"/>
                <a:gd name="T22" fmla="*/ 21 w 21"/>
                <a:gd name="T2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7"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4" y="1"/>
                    <a:pt x="11" y="2"/>
                    <a:pt x="7" y="4"/>
                  </a:cubicBezTo>
                  <a:cubicBezTo>
                    <a:pt x="4" y="7"/>
                    <a:pt x="2" y="10"/>
                    <a:pt x="1" y="13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5"/>
                    <a:pt x="1" y="14"/>
                    <a:pt x="1" y="13"/>
                  </a:cubicBezTo>
                  <a:cubicBezTo>
                    <a:pt x="2" y="10"/>
                    <a:pt x="4" y="7"/>
                    <a:pt x="7" y="4"/>
                  </a:cubicBezTo>
                  <a:cubicBezTo>
                    <a:pt x="10" y="1"/>
                    <a:pt x="14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96">
              <a:extLst>
                <a:ext uri="{FF2B5EF4-FFF2-40B4-BE49-F238E27FC236}">
                  <a16:creationId xmlns:a16="http://schemas.microsoft.com/office/drawing/2014/main" id="{0EBFFF16-8B85-4924-983E-F4C55ED99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276"/>
              <a:ext cx="3" cy="57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12 h 24"/>
                <a:gd name="T4" fmla="*/ 1 w 1"/>
                <a:gd name="T5" fmla="*/ 24 h 24"/>
                <a:gd name="T6" fmla="*/ 0 w 1"/>
                <a:gd name="T7" fmla="*/ 12 h 24"/>
                <a:gd name="T8" fmla="*/ 0 w 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0"/>
                    <a:pt x="1" y="5"/>
                    <a:pt x="1" y="12"/>
                  </a:cubicBezTo>
                  <a:cubicBezTo>
                    <a:pt x="1" y="19"/>
                    <a:pt x="1" y="24"/>
                    <a:pt x="1" y="24"/>
                  </a:cubicBezTo>
                  <a:cubicBezTo>
                    <a:pt x="0" y="24"/>
                    <a:pt x="0" y="19"/>
                    <a:pt x="0" y="12"/>
                  </a:cubicBezTo>
                  <a:cubicBezTo>
                    <a:pt x="0" y="5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Oval 297">
              <a:extLst>
                <a:ext uri="{FF2B5EF4-FFF2-40B4-BE49-F238E27FC236}">
                  <a16:creationId xmlns:a16="http://schemas.microsoft.com/office/drawing/2014/main" id="{98A107E1-7ECF-431F-9C77-9FDA58567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" y="4361"/>
              <a:ext cx="43" cy="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298">
              <a:extLst>
                <a:ext uri="{FF2B5EF4-FFF2-40B4-BE49-F238E27FC236}">
                  <a16:creationId xmlns:a16="http://schemas.microsoft.com/office/drawing/2014/main" id="{013AAE02-9B07-4A39-8F2E-77197C2FE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" y="4361"/>
              <a:ext cx="4" cy="7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3 h 3"/>
                <a:gd name="T6" fmla="*/ 0 w 2"/>
                <a:gd name="T7" fmla="*/ 1 h 3"/>
                <a:gd name="T8" fmla="*/ 1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299">
              <a:extLst>
                <a:ext uri="{FF2B5EF4-FFF2-40B4-BE49-F238E27FC236}">
                  <a16:creationId xmlns:a16="http://schemas.microsoft.com/office/drawing/2014/main" id="{9713D011-3546-43ED-A3EF-754B0B15E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4" y="4347"/>
              <a:ext cx="7" cy="7"/>
            </a:xfrm>
            <a:custGeom>
              <a:avLst/>
              <a:gdLst>
                <a:gd name="T0" fmla="*/ 3 w 3"/>
                <a:gd name="T1" fmla="*/ 0 h 3"/>
                <a:gd name="T2" fmla="*/ 2 w 3"/>
                <a:gd name="T3" fmla="*/ 2 h 3"/>
                <a:gd name="T4" fmla="*/ 1 w 3"/>
                <a:gd name="T5" fmla="*/ 3 h 3"/>
                <a:gd name="T6" fmla="*/ 1 w 3"/>
                <a:gd name="T7" fmla="*/ 1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3" y="0"/>
                    <a:pt x="3" y="1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00">
              <a:extLst>
                <a:ext uri="{FF2B5EF4-FFF2-40B4-BE49-F238E27FC236}">
                  <a16:creationId xmlns:a16="http://schemas.microsoft.com/office/drawing/2014/main" id="{A09A32F9-61F3-4E23-ACBF-DD5C7117D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4340"/>
              <a:ext cx="7" cy="4"/>
            </a:xfrm>
            <a:custGeom>
              <a:avLst/>
              <a:gdLst>
                <a:gd name="T0" fmla="*/ 3 w 3"/>
                <a:gd name="T1" fmla="*/ 1 h 2"/>
                <a:gd name="T2" fmla="*/ 1 w 3"/>
                <a:gd name="T3" fmla="*/ 1 h 2"/>
                <a:gd name="T4" fmla="*/ 0 w 3"/>
                <a:gd name="T5" fmla="*/ 2 h 2"/>
                <a:gd name="T6" fmla="*/ 1 w 3"/>
                <a:gd name="T7" fmla="*/ 1 h 2"/>
                <a:gd name="T8" fmla="*/ 3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01">
              <a:extLst>
                <a:ext uri="{FF2B5EF4-FFF2-40B4-BE49-F238E27FC236}">
                  <a16:creationId xmlns:a16="http://schemas.microsoft.com/office/drawing/2014/main" id="{127CDE59-7BA9-415C-8DAB-2703176F2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4337"/>
              <a:ext cx="5" cy="3"/>
            </a:xfrm>
            <a:custGeom>
              <a:avLst/>
              <a:gdLst>
                <a:gd name="T0" fmla="*/ 2 w 2"/>
                <a:gd name="T1" fmla="*/ 1 h 1"/>
                <a:gd name="T2" fmla="*/ 1 w 2"/>
                <a:gd name="T3" fmla="*/ 1 h 1"/>
                <a:gd name="T4" fmla="*/ 0 w 2"/>
                <a:gd name="T5" fmla="*/ 1 h 1"/>
                <a:gd name="T6" fmla="*/ 1 w 2"/>
                <a:gd name="T7" fmla="*/ 1 h 1"/>
                <a:gd name="T8" fmla="*/ 2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02">
              <a:extLst>
                <a:ext uri="{FF2B5EF4-FFF2-40B4-BE49-F238E27FC236}">
                  <a16:creationId xmlns:a16="http://schemas.microsoft.com/office/drawing/2014/main" id="{049C6FEF-C644-4F7C-A5D4-EBDB0213D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" y="4309"/>
              <a:ext cx="1" cy="19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03">
              <a:extLst>
                <a:ext uri="{FF2B5EF4-FFF2-40B4-BE49-F238E27FC236}">
                  <a16:creationId xmlns:a16="http://schemas.microsoft.com/office/drawing/2014/main" id="{E4AFA933-7501-443C-9944-372526695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4309"/>
              <a:ext cx="0" cy="19"/>
            </a:xfrm>
            <a:custGeom>
              <a:avLst/>
              <a:gdLst>
                <a:gd name="T0" fmla="*/ 0 h 19"/>
                <a:gd name="T1" fmla="*/ 19 h 19"/>
                <a:gd name="T2" fmla="*/ 19 h 19"/>
                <a:gd name="T3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0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4">
              <a:extLst>
                <a:ext uri="{FF2B5EF4-FFF2-40B4-BE49-F238E27FC236}">
                  <a16:creationId xmlns:a16="http://schemas.microsoft.com/office/drawing/2014/main" id="{E7F1CEC8-6801-4636-A97D-903FE3D16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8" y="4309"/>
              <a:ext cx="14" cy="19"/>
            </a:xfrm>
            <a:custGeom>
              <a:avLst/>
              <a:gdLst>
                <a:gd name="T0" fmla="*/ 6 w 6"/>
                <a:gd name="T1" fmla="*/ 0 h 8"/>
                <a:gd name="T2" fmla="*/ 0 w 6"/>
                <a:gd name="T3" fmla="*/ 0 h 8"/>
                <a:gd name="T4" fmla="*/ 0 w 6"/>
                <a:gd name="T5" fmla="*/ 8 h 8"/>
                <a:gd name="T6" fmla="*/ 6 w 6"/>
                <a:gd name="T7" fmla="*/ 8 h 8"/>
                <a:gd name="T8" fmla="*/ 6 w 6"/>
                <a:gd name="T9" fmla="*/ 0 h 8"/>
                <a:gd name="T10" fmla="*/ 6 w 6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5">
              <a:extLst>
                <a:ext uri="{FF2B5EF4-FFF2-40B4-BE49-F238E27FC236}">
                  <a16:creationId xmlns:a16="http://schemas.microsoft.com/office/drawing/2014/main" id="{6332BB18-2062-4924-B474-87DA8ACB4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11"/>
              <a:ext cx="0" cy="17"/>
            </a:xfrm>
            <a:custGeom>
              <a:avLst/>
              <a:gdLst>
                <a:gd name="T0" fmla="*/ 0 h 7"/>
                <a:gd name="T1" fmla="*/ 7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06">
              <a:extLst>
                <a:ext uri="{FF2B5EF4-FFF2-40B4-BE49-F238E27FC236}">
                  <a16:creationId xmlns:a16="http://schemas.microsoft.com/office/drawing/2014/main" id="{46EA35FC-3F82-4145-9999-CA29B743F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09"/>
              <a:ext cx="126" cy="19"/>
            </a:xfrm>
            <a:custGeom>
              <a:avLst/>
              <a:gdLst>
                <a:gd name="T0" fmla="*/ 53 w 53"/>
                <a:gd name="T1" fmla="*/ 0 h 8"/>
                <a:gd name="T2" fmla="*/ 0 w 53"/>
                <a:gd name="T3" fmla="*/ 1 h 8"/>
                <a:gd name="T4" fmla="*/ 0 w 53"/>
                <a:gd name="T5" fmla="*/ 1 h 8"/>
                <a:gd name="T6" fmla="*/ 0 w 53"/>
                <a:gd name="T7" fmla="*/ 8 h 8"/>
                <a:gd name="T8" fmla="*/ 3 w 53"/>
                <a:gd name="T9" fmla="*/ 8 h 8"/>
                <a:gd name="T10" fmla="*/ 7 w 53"/>
                <a:gd name="T11" fmla="*/ 7 h 8"/>
                <a:gd name="T12" fmla="*/ 7 w 53"/>
                <a:gd name="T13" fmla="*/ 7 h 8"/>
                <a:gd name="T14" fmla="*/ 6 w 53"/>
                <a:gd name="T15" fmla="*/ 8 h 8"/>
                <a:gd name="T16" fmla="*/ 53 w 53"/>
                <a:gd name="T17" fmla="*/ 8 h 8"/>
                <a:gd name="T18" fmla="*/ 53 w 53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8">
                  <a:moveTo>
                    <a:pt x="53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5" y="8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6"/>
                    <a:pt x="53" y="4"/>
                    <a:pt x="5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07">
              <a:extLst>
                <a:ext uri="{FF2B5EF4-FFF2-40B4-BE49-F238E27FC236}">
                  <a16:creationId xmlns:a16="http://schemas.microsoft.com/office/drawing/2014/main" id="{5CBFD658-820D-46BC-91EF-4EEE17D2C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" y="4325"/>
              <a:ext cx="17" cy="3"/>
            </a:xfrm>
            <a:custGeom>
              <a:avLst/>
              <a:gdLst>
                <a:gd name="T0" fmla="*/ 7 w 7"/>
                <a:gd name="T1" fmla="*/ 0 h 1"/>
                <a:gd name="T2" fmla="*/ 3 w 7"/>
                <a:gd name="T3" fmla="*/ 1 h 1"/>
                <a:gd name="T4" fmla="*/ 0 w 7"/>
                <a:gd name="T5" fmla="*/ 1 h 1"/>
                <a:gd name="T6" fmla="*/ 0 w 7"/>
                <a:gd name="T7" fmla="*/ 1 h 1"/>
                <a:gd name="T8" fmla="*/ 6 w 7"/>
                <a:gd name="T9" fmla="*/ 1 h 1"/>
                <a:gd name="T10" fmla="*/ 7 w 7"/>
                <a:gd name="T11" fmla="*/ 0 h 1"/>
                <a:gd name="T12" fmla="*/ 7 w 7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6" y="0"/>
                    <a:pt x="5" y="1"/>
                    <a:pt x="3" y="1"/>
                  </a:cubicBezTo>
                  <a:cubicBezTo>
                    <a:pt x="2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08">
              <a:extLst>
                <a:ext uri="{FF2B5EF4-FFF2-40B4-BE49-F238E27FC236}">
                  <a16:creationId xmlns:a16="http://schemas.microsoft.com/office/drawing/2014/main" id="{CC498ABD-32B9-4A42-941E-E367CF83E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309"/>
              <a:ext cx="3" cy="19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0 h 8"/>
                <a:gd name="T4" fmla="*/ 0 w 1"/>
                <a:gd name="T5" fmla="*/ 8 h 8"/>
                <a:gd name="T6" fmla="*/ 1 w 1"/>
                <a:gd name="T7" fmla="*/ 8 h 8"/>
                <a:gd name="T8" fmla="*/ 1 w 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4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09">
              <a:extLst>
                <a:ext uri="{FF2B5EF4-FFF2-40B4-BE49-F238E27FC236}">
                  <a16:creationId xmlns:a16="http://schemas.microsoft.com/office/drawing/2014/main" id="{A976DD98-B045-4B89-B3BF-399DECE68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1" y="2974"/>
              <a:ext cx="477" cy="287"/>
            </a:xfrm>
            <a:custGeom>
              <a:avLst/>
              <a:gdLst>
                <a:gd name="T0" fmla="*/ 201 w 201"/>
                <a:gd name="T1" fmla="*/ 26 h 121"/>
                <a:gd name="T2" fmla="*/ 177 w 201"/>
                <a:gd name="T3" fmla="*/ 98 h 121"/>
                <a:gd name="T4" fmla="*/ 133 w 201"/>
                <a:gd name="T5" fmla="*/ 121 h 121"/>
                <a:gd name="T6" fmla="*/ 0 w 201"/>
                <a:gd name="T7" fmla="*/ 121 h 121"/>
                <a:gd name="T8" fmla="*/ 0 w 201"/>
                <a:gd name="T9" fmla="*/ 91 h 121"/>
                <a:gd name="T10" fmla="*/ 122 w 201"/>
                <a:gd name="T11" fmla="*/ 74 h 121"/>
                <a:gd name="T12" fmla="*/ 151 w 201"/>
                <a:gd name="T13" fmla="*/ 0 h 121"/>
                <a:gd name="T14" fmla="*/ 201 w 201"/>
                <a:gd name="T15" fmla="*/ 2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21">
                  <a:moveTo>
                    <a:pt x="201" y="26"/>
                  </a:moveTo>
                  <a:cubicBezTo>
                    <a:pt x="177" y="98"/>
                    <a:pt x="177" y="98"/>
                    <a:pt x="177" y="98"/>
                  </a:cubicBezTo>
                  <a:cubicBezTo>
                    <a:pt x="171" y="118"/>
                    <a:pt x="154" y="121"/>
                    <a:pt x="133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201" y="26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10">
              <a:extLst>
                <a:ext uri="{FF2B5EF4-FFF2-40B4-BE49-F238E27FC236}">
                  <a16:creationId xmlns:a16="http://schemas.microsoft.com/office/drawing/2014/main" id="{F17175CB-09A7-492F-BC94-1AC95341A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7" y="3112"/>
              <a:ext cx="194" cy="149"/>
            </a:xfrm>
            <a:custGeom>
              <a:avLst/>
              <a:gdLst>
                <a:gd name="T0" fmla="*/ 68 w 82"/>
                <a:gd name="T1" fmla="*/ 27 h 63"/>
                <a:gd name="T2" fmla="*/ 57 w 82"/>
                <a:gd name="T3" fmla="*/ 22 h 63"/>
                <a:gd name="T4" fmla="*/ 43 w 82"/>
                <a:gd name="T5" fmla="*/ 1 h 63"/>
                <a:gd name="T6" fmla="*/ 45 w 82"/>
                <a:gd name="T7" fmla="*/ 18 h 63"/>
                <a:gd name="T8" fmla="*/ 31 w 82"/>
                <a:gd name="T9" fmla="*/ 14 h 63"/>
                <a:gd name="T10" fmla="*/ 2 w 82"/>
                <a:gd name="T11" fmla="*/ 30 h 63"/>
                <a:gd name="T12" fmla="*/ 12 w 82"/>
                <a:gd name="T13" fmla="*/ 33 h 63"/>
                <a:gd name="T14" fmla="*/ 27 w 82"/>
                <a:gd name="T15" fmla="*/ 26 h 63"/>
                <a:gd name="T16" fmla="*/ 44 w 82"/>
                <a:gd name="T17" fmla="*/ 31 h 63"/>
                <a:gd name="T18" fmla="*/ 23 w 82"/>
                <a:gd name="T19" fmla="*/ 33 h 63"/>
                <a:gd name="T20" fmla="*/ 3 w 82"/>
                <a:gd name="T21" fmla="*/ 51 h 63"/>
                <a:gd name="T22" fmla="*/ 15 w 82"/>
                <a:gd name="T23" fmla="*/ 51 h 63"/>
                <a:gd name="T24" fmla="*/ 66 w 82"/>
                <a:gd name="T25" fmla="*/ 62 h 63"/>
                <a:gd name="T26" fmla="*/ 82 w 82"/>
                <a:gd name="T27" fmla="*/ 63 h 63"/>
                <a:gd name="T28" fmla="*/ 82 w 82"/>
                <a:gd name="T29" fmla="*/ 33 h 63"/>
                <a:gd name="T30" fmla="*/ 68 w 82"/>
                <a:gd name="T3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63">
                  <a:moveTo>
                    <a:pt x="68" y="27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46" y="0"/>
                    <a:pt x="43" y="1"/>
                  </a:cubicBezTo>
                  <a:cubicBezTo>
                    <a:pt x="41" y="2"/>
                    <a:pt x="40" y="8"/>
                    <a:pt x="45" y="1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0" y="28"/>
                    <a:pt x="2" y="30"/>
                  </a:cubicBezTo>
                  <a:cubicBezTo>
                    <a:pt x="3" y="32"/>
                    <a:pt x="5" y="37"/>
                    <a:pt x="12" y="33"/>
                  </a:cubicBezTo>
                  <a:cubicBezTo>
                    <a:pt x="19" y="30"/>
                    <a:pt x="27" y="26"/>
                    <a:pt x="27" y="2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9" y="56"/>
                    <a:pt x="15" y="5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33"/>
                    <a:pt x="82" y="33"/>
                    <a:pt x="82" y="33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B788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11">
              <a:extLst>
                <a:ext uri="{FF2B5EF4-FFF2-40B4-BE49-F238E27FC236}">
                  <a16:creationId xmlns:a16="http://schemas.microsoft.com/office/drawing/2014/main" id="{29888053-3EF2-4A7C-A94B-B4EE65E8F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3207"/>
              <a:ext cx="67" cy="26"/>
            </a:xfrm>
            <a:custGeom>
              <a:avLst/>
              <a:gdLst>
                <a:gd name="T0" fmla="*/ 0 w 28"/>
                <a:gd name="T1" fmla="*/ 11 h 11"/>
                <a:gd name="T2" fmla="*/ 3 w 28"/>
                <a:gd name="T3" fmla="*/ 8 h 11"/>
                <a:gd name="T4" fmla="*/ 7 w 28"/>
                <a:gd name="T5" fmla="*/ 5 h 11"/>
                <a:gd name="T6" fmla="*/ 12 w 28"/>
                <a:gd name="T7" fmla="*/ 3 h 11"/>
                <a:gd name="T8" fmla="*/ 28 w 28"/>
                <a:gd name="T9" fmla="*/ 1 h 11"/>
                <a:gd name="T10" fmla="*/ 12 w 28"/>
                <a:gd name="T11" fmla="*/ 2 h 11"/>
                <a:gd name="T12" fmla="*/ 6 w 28"/>
                <a:gd name="T13" fmla="*/ 3 h 11"/>
                <a:gd name="T14" fmla="*/ 2 w 28"/>
                <a:gd name="T15" fmla="*/ 7 h 11"/>
                <a:gd name="T16" fmla="*/ 0 w 28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">
                  <a:moveTo>
                    <a:pt x="0" y="11"/>
                  </a:moveTo>
                  <a:cubicBezTo>
                    <a:pt x="0" y="11"/>
                    <a:pt x="1" y="10"/>
                    <a:pt x="3" y="8"/>
                  </a:cubicBezTo>
                  <a:cubicBezTo>
                    <a:pt x="4" y="7"/>
                    <a:pt x="5" y="6"/>
                    <a:pt x="7" y="5"/>
                  </a:cubicBezTo>
                  <a:cubicBezTo>
                    <a:pt x="8" y="4"/>
                    <a:pt x="10" y="3"/>
                    <a:pt x="12" y="3"/>
                  </a:cubicBezTo>
                  <a:cubicBezTo>
                    <a:pt x="21" y="2"/>
                    <a:pt x="28" y="1"/>
                    <a:pt x="28" y="1"/>
                  </a:cubicBezTo>
                  <a:cubicBezTo>
                    <a:pt x="28" y="0"/>
                    <a:pt x="21" y="1"/>
                    <a:pt x="12" y="2"/>
                  </a:cubicBezTo>
                  <a:cubicBezTo>
                    <a:pt x="10" y="2"/>
                    <a:pt x="8" y="2"/>
                    <a:pt x="6" y="3"/>
                  </a:cubicBezTo>
                  <a:cubicBezTo>
                    <a:pt x="4" y="4"/>
                    <a:pt x="3" y="6"/>
                    <a:pt x="2" y="7"/>
                  </a:cubicBezTo>
                  <a:cubicBezTo>
                    <a:pt x="0" y="9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12">
              <a:extLst>
                <a:ext uri="{FF2B5EF4-FFF2-40B4-BE49-F238E27FC236}">
                  <a16:creationId xmlns:a16="http://schemas.microsoft.com/office/drawing/2014/main" id="{7743E760-F0BE-4DE3-AB5A-E59B88A87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" y="3228"/>
              <a:ext cx="41" cy="10"/>
            </a:xfrm>
            <a:custGeom>
              <a:avLst/>
              <a:gdLst>
                <a:gd name="T0" fmla="*/ 0 w 17"/>
                <a:gd name="T1" fmla="*/ 4 h 4"/>
                <a:gd name="T2" fmla="*/ 2 w 17"/>
                <a:gd name="T3" fmla="*/ 3 h 4"/>
                <a:gd name="T4" fmla="*/ 8 w 17"/>
                <a:gd name="T5" fmla="*/ 2 h 4"/>
                <a:gd name="T6" fmla="*/ 17 w 17"/>
                <a:gd name="T7" fmla="*/ 1 h 4"/>
                <a:gd name="T8" fmla="*/ 8 w 17"/>
                <a:gd name="T9" fmla="*/ 0 h 4"/>
                <a:gd name="T10" fmla="*/ 1 w 17"/>
                <a:gd name="T11" fmla="*/ 2 h 4"/>
                <a:gd name="T12" fmla="*/ 0 w 17"/>
                <a:gd name="T13" fmla="*/ 3 h 4"/>
                <a:gd name="T14" fmla="*/ 0 w 17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4">
                  <a:moveTo>
                    <a:pt x="0" y="4"/>
                  </a:moveTo>
                  <a:cubicBezTo>
                    <a:pt x="0" y="4"/>
                    <a:pt x="0" y="3"/>
                    <a:pt x="2" y="3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3" y="1"/>
                    <a:pt x="17" y="1"/>
                    <a:pt x="17" y="1"/>
                  </a:cubicBezTo>
                  <a:cubicBezTo>
                    <a:pt x="17" y="0"/>
                    <a:pt x="13" y="0"/>
                    <a:pt x="8" y="0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AA65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3">
              <a:extLst>
                <a:ext uri="{FF2B5EF4-FFF2-40B4-BE49-F238E27FC236}">
                  <a16:creationId xmlns:a16="http://schemas.microsoft.com/office/drawing/2014/main" id="{100D7F9D-2082-49EF-ABCE-5AC892EA8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2653"/>
              <a:ext cx="629" cy="737"/>
            </a:xfrm>
            <a:custGeom>
              <a:avLst/>
              <a:gdLst>
                <a:gd name="T0" fmla="*/ 75 w 265"/>
                <a:gd name="T1" fmla="*/ 146 h 310"/>
                <a:gd name="T2" fmla="*/ 65 w 265"/>
                <a:gd name="T3" fmla="*/ 180 h 310"/>
                <a:gd name="T4" fmla="*/ 0 w 265"/>
                <a:gd name="T5" fmla="*/ 151 h 310"/>
                <a:gd name="T6" fmla="*/ 34 w 265"/>
                <a:gd name="T7" fmla="*/ 60 h 310"/>
                <a:gd name="T8" fmla="*/ 101 w 265"/>
                <a:gd name="T9" fmla="*/ 6 h 310"/>
                <a:gd name="T10" fmla="*/ 163 w 265"/>
                <a:gd name="T11" fmla="*/ 0 h 310"/>
                <a:gd name="T12" fmla="*/ 260 w 265"/>
                <a:gd name="T13" fmla="*/ 59 h 310"/>
                <a:gd name="T14" fmla="*/ 260 w 265"/>
                <a:gd name="T15" fmla="*/ 192 h 310"/>
                <a:gd name="T16" fmla="*/ 255 w 265"/>
                <a:gd name="T17" fmla="*/ 304 h 310"/>
                <a:gd name="T18" fmla="*/ 69 w 265"/>
                <a:gd name="T19" fmla="*/ 310 h 310"/>
                <a:gd name="T20" fmla="*/ 75 w 265"/>
                <a:gd name="T21" fmla="*/ 14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5" h="310">
                  <a:moveTo>
                    <a:pt x="75" y="146"/>
                  </a:moveTo>
                  <a:cubicBezTo>
                    <a:pt x="65" y="180"/>
                    <a:pt x="65" y="180"/>
                    <a:pt x="65" y="18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44"/>
                    <a:pt x="13" y="111"/>
                    <a:pt x="34" y="60"/>
                  </a:cubicBezTo>
                  <a:cubicBezTo>
                    <a:pt x="45" y="32"/>
                    <a:pt x="71" y="11"/>
                    <a:pt x="101" y="6"/>
                  </a:cubicBezTo>
                  <a:cubicBezTo>
                    <a:pt x="122" y="3"/>
                    <a:pt x="145" y="0"/>
                    <a:pt x="163" y="0"/>
                  </a:cubicBezTo>
                  <a:cubicBezTo>
                    <a:pt x="199" y="0"/>
                    <a:pt x="253" y="23"/>
                    <a:pt x="260" y="59"/>
                  </a:cubicBezTo>
                  <a:cubicBezTo>
                    <a:pt x="265" y="86"/>
                    <a:pt x="260" y="134"/>
                    <a:pt x="260" y="192"/>
                  </a:cubicBezTo>
                  <a:cubicBezTo>
                    <a:pt x="255" y="304"/>
                    <a:pt x="255" y="304"/>
                    <a:pt x="255" y="304"/>
                  </a:cubicBezTo>
                  <a:cubicBezTo>
                    <a:pt x="69" y="310"/>
                    <a:pt x="69" y="310"/>
                    <a:pt x="69" y="310"/>
                  </a:cubicBezTo>
                  <a:cubicBezTo>
                    <a:pt x="75" y="146"/>
                    <a:pt x="75" y="146"/>
                    <a:pt x="75" y="14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14">
              <a:extLst>
                <a:ext uri="{FF2B5EF4-FFF2-40B4-BE49-F238E27FC236}">
                  <a16:creationId xmlns:a16="http://schemas.microsoft.com/office/drawing/2014/main" id="{46FA664F-AF99-4238-9C72-673B05311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375"/>
              <a:ext cx="270" cy="34"/>
            </a:xfrm>
            <a:custGeom>
              <a:avLst/>
              <a:gdLst>
                <a:gd name="T0" fmla="*/ 114 w 114"/>
                <a:gd name="T1" fmla="*/ 0 h 14"/>
                <a:gd name="T2" fmla="*/ 0 w 114"/>
                <a:gd name="T3" fmla="*/ 4 h 14"/>
                <a:gd name="T4" fmla="*/ 0 w 114"/>
                <a:gd name="T5" fmla="*/ 8 h 14"/>
                <a:gd name="T6" fmla="*/ 112 w 114"/>
                <a:gd name="T7" fmla="*/ 14 h 14"/>
                <a:gd name="T8" fmla="*/ 114 w 1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4">
                  <a:moveTo>
                    <a:pt x="11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15">
              <a:extLst>
                <a:ext uri="{FF2B5EF4-FFF2-40B4-BE49-F238E27FC236}">
                  <a16:creationId xmlns:a16="http://schemas.microsoft.com/office/drawing/2014/main" id="{66800656-3477-4D5A-8482-E6BAFBD19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" y="3043"/>
              <a:ext cx="327" cy="342"/>
            </a:xfrm>
            <a:custGeom>
              <a:avLst/>
              <a:gdLst>
                <a:gd name="T0" fmla="*/ 54 w 138"/>
                <a:gd name="T1" fmla="*/ 0 h 144"/>
                <a:gd name="T2" fmla="*/ 28 w 138"/>
                <a:gd name="T3" fmla="*/ 7 h 144"/>
                <a:gd name="T4" fmla="*/ 13 w 138"/>
                <a:gd name="T5" fmla="*/ 36 h 144"/>
                <a:gd name="T6" fmla="*/ 0 w 138"/>
                <a:gd name="T7" fmla="*/ 144 h 144"/>
                <a:gd name="T8" fmla="*/ 114 w 138"/>
                <a:gd name="T9" fmla="*/ 140 h 144"/>
                <a:gd name="T10" fmla="*/ 138 w 138"/>
                <a:gd name="T11" fmla="*/ 2 h 144"/>
                <a:gd name="T12" fmla="*/ 116 w 138"/>
                <a:gd name="T13" fmla="*/ 4 h 144"/>
                <a:gd name="T14" fmla="*/ 69 w 138"/>
                <a:gd name="T15" fmla="*/ 1 h 144"/>
                <a:gd name="T16" fmla="*/ 54 w 138"/>
                <a:gd name="T17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144">
                  <a:moveTo>
                    <a:pt x="54" y="0"/>
                  </a:moveTo>
                  <a:cubicBezTo>
                    <a:pt x="45" y="0"/>
                    <a:pt x="36" y="2"/>
                    <a:pt x="28" y="7"/>
                  </a:cubicBezTo>
                  <a:cubicBezTo>
                    <a:pt x="20" y="14"/>
                    <a:pt x="16" y="26"/>
                    <a:pt x="13" y="36"/>
                  </a:cubicBezTo>
                  <a:cubicBezTo>
                    <a:pt x="4" y="77"/>
                    <a:pt x="2" y="104"/>
                    <a:pt x="0" y="144"/>
                  </a:cubicBezTo>
                  <a:cubicBezTo>
                    <a:pt x="114" y="140"/>
                    <a:pt x="114" y="140"/>
                    <a:pt x="114" y="140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1" y="4"/>
                    <a:pt x="124" y="4"/>
                    <a:pt x="116" y="4"/>
                  </a:cubicBezTo>
                  <a:cubicBezTo>
                    <a:pt x="101" y="4"/>
                    <a:pt x="85" y="2"/>
                    <a:pt x="69" y="1"/>
                  </a:cubicBezTo>
                  <a:cubicBezTo>
                    <a:pt x="64" y="1"/>
                    <a:pt x="59" y="0"/>
                    <a:pt x="54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16">
              <a:extLst>
                <a:ext uri="{FF2B5EF4-FFF2-40B4-BE49-F238E27FC236}">
                  <a16:creationId xmlns:a16="http://schemas.microsoft.com/office/drawing/2014/main" id="{019CE528-3700-4252-84A8-A44A9E568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2" y="2713"/>
              <a:ext cx="60" cy="282"/>
            </a:xfrm>
            <a:custGeom>
              <a:avLst/>
              <a:gdLst>
                <a:gd name="T0" fmla="*/ 0 w 25"/>
                <a:gd name="T1" fmla="*/ 0 h 119"/>
                <a:gd name="T2" fmla="*/ 5 w 25"/>
                <a:gd name="T3" fmla="*/ 1 h 119"/>
                <a:gd name="T4" fmla="*/ 16 w 25"/>
                <a:gd name="T5" fmla="*/ 10 h 119"/>
                <a:gd name="T6" fmla="*/ 22 w 25"/>
                <a:gd name="T7" fmla="*/ 29 h 119"/>
                <a:gd name="T8" fmla="*/ 21 w 25"/>
                <a:gd name="T9" fmla="*/ 55 h 119"/>
                <a:gd name="T10" fmla="*/ 10 w 25"/>
                <a:gd name="T11" fmla="*/ 100 h 119"/>
                <a:gd name="T12" fmla="*/ 6 w 25"/>
                <a:gd name="T13" fmla="*/ 114 h 119"/>
                <a:gd name="T14" fmla="*/ 5 w 25"/>
                <a:gd name="T15" fmla="*/ 119 h 119"/>
                <a:gd name="T16" fmla="*/ 7 w 25"/>
                <a:gd name="T17" fmla="*/ 114 h 119"/>
                <a:gd name="T18" fmla="*/ 11 w 25"/>
                <a:gd name="T19" fmla="*/ 101 h 119"/>
                <a:gd name="T20" fmla="*/ 22 w 25"/>
                <a:gd name="T21" fmla="*/ 55 h 119"/>
                <a:gd name="T22" fmla="*/ 24 w 25"/>
                <a:gd name="T23" fmla="*/ 29 h 119"/>
                <a:gd name="T24" fmla="*/ 17 w 25"/>
                <a:gd name="T25" fmla="*/ 9 h 119"/>
                <a:gd name="T26" fmla="*/ 6 w 25"/>
                <a:gd name="T27" fmla="*/ 1 h 119"/>
                <a:gd name="T28" fmla="*/ 2 w 25"/>
                <a:gd name="T29" fmla="*/ 0 h 119"/>
                <a:gd name="T30" fmla="*/ 0 w 25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9">
                  <a:moveTo>
                    <a:pt x="0" y="0"/>
                  </a:moveTo>
                  <a:cubicBezTo>
                    <a:pt x="0" y="0"/>
                    <a:pt x="2" y="0"/>
                    <a:pt x="5" y="1"/>
                  </a:cubicBezTo>
                  <a:cubicBezTo>
                    <a:pt x="8" y="2"/>
                    <a:pt x="13" y="5"/>
                    <a:pt x="16" y="10"/>
                  </a:cubicBezTo>
                  <a:cubicBezTo>
                    <a:pt x="20" y="15"/>
                    <a:pt x="22" y="21"/>
                    <a:pt x="22" y="29"/>
                  </a:cubicBezTo>
                  <a:cubicBezTo>
                    <a:pt x="23" y="37"/>
                    <a:pt x="22" y="46"/>
                    <a:pt x="21" y="55"/>
                  </a:cubicBezTo>
                  <a:cubicBezTo>
                    <a:pt x="18" y="73"/>
                    <a:pt x="13" y="89"/>
                    <a:pt x="10" y="100"/>
                  </a:cubicBezTo>
                  <a:cubicBezTo>
                    <a:pt x="9" y="106"/>
                    <a:pt x="7" y="111"/>
                    <a:pt x="6" y="114"/>
                  </a:cubicBezTo>
                  <a:cubicBezTo>
                    <a:pt x="5" y="117"/>
                    <a:pt x="5" y="119"/>
                    <a:pt x="5" y="119"/>
                  </a:cubicBezTo>
                  <a:cubicBezTo>
                    <a:pt x="5" y="119"/>
                    <a:pt x="6" y="118"/>
                    <a:pt x="7" y="114"/>
                  </a:cubicBezTo>
                  <a:cubicBezTo>
                    <a:pt x="8" y="111"/>
                    <a:pt x="9" y="107"/>
                    <a:pt x="11" y="101"/>
                  </a:cubicBezTo>
                  <a:cubicBezTo>
                    <a:pt x="15" y="89"/>
                    <a:pt x="19" y="73"/>
                    <a:pt x="22" y="55"/>
                  </a:cubicBezTo>
                  <a:cubicBezTo>
                    <a:pt x="23" y="46"/>
                    <a:pt x="25" y="37"/>
                    <a:pt x="24" y="29"/>
                  </a:cubicBezTo>
                  <a:cubicBezTo>
                    <a:pt x="23" y="21"/>
                    <a:pt x="21" y="14"/>
                    <a:pt x="17" y="9"/>
                  </a:cubicBezTo>
                  <a:cubicBezTo>
                    <a:pt x="13" y="4"/>
                    <a:pt x="9" y="2"/>
                    <a:pt x="6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17">
              <a:extLst>
                <a:ext uri="{FF2B5EF4-FFF2-40B4-BE49-F238E27FC236}">
                  <a16:creationId xmlns:a16="http://schemas.microsoft.com/office/drawing/2014/main" id="{46687F7D-6CA7-4BEA-B8E5-64B356F20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" y="2991"/>
              <a:ext cx="157" cy="71"/>
            </a:xfrm>
            <a:custGeom>
              <a:avLst/>
              <a:gdLst>
                <a:gd name="T0" fmla="*/ 0 w 66"/>
                <a:gd name="T1" fmla="*/ 0 h 30"/>
                <a:gd name="T2" fmla="*/ 9 w 66"/>
                <a:gd name="T3" fmla="*/ 5 h 30"/>
                <a:gd name="T4" fmla="*/ 32 w 66"/>
                <a:gd name="T5" fmla="*/ 16 h 30"/>
                <a:gd name="T6" fmla="*/ 56 w 66"/>
                <a:gd name="T7" fmla="*/ 26 h 30"/>
                <a:gd name="T8" fmla="*/ 66 w 66"/>
                <a:gd name="T9" fmla="*/ 30 h 30"/>
                <a:gd name="T10" fmla="*/ 56 w 66"/>
                <a:gd name="T11" fmla="*/ 25 h 30"/>
                <a:gd name="T12" fmla="*/ 33 w 66"/>
                <a:gd name="T13" fmla="*/ 15 h 30"/>
                <a:gd name="T14" fmla="*/ 10 w 66"/>
                <a:gd name="T15" fmla="*/ 4 h 30"/>
                <a:gd name="T16" fmla="*/ 0 w 6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30">
                  <a:moveTo>
                    <a:pt x="0" y="0"/>
                  </a:moveTo>
                  <a:cubicBezTo>
                    <a:pt x="0" y="0"/>
                    <a:pt x="4" y="2"/>
                    <a:pt x="9" y="5"/>
                  </a:cubicBezTo>
                  <a:cubicBezTo>
                    <a:pt x="15" y="8"/>
                    <a:pt x="23" y="12"/>
                    <a:pt x="32" y="16"/>
                  </a:cubicBezTo>
                  <a:cubicBezTo>
                    <a:pt x="41" y="20"/>
                    <a:pt x="50" y="24"/>
                    <a:pt x="56" y="26"/>
                  </a:cubicBezTo>
                  <a:cubicBezTo>
                    <a:pt x="62" y="29"/>
                    <a:pt x="65" y="30"/>
                    <a:pt x="66" y="30"/>
                  </a:cubicBezTo>
                  <a:cubicBezTo>
                    <a:pt x="66" y="29"/>
                    <a:pt x="62" y="28"/>
                    <a:pt x="56" y="25"/>
                  </a:cubicBezTo>
                  <a:cubicBezTo>
                    <a:pt x="50" y="23"/>
                    <a:pt x="42" y="19"/>
                    <a:pt x="33" y="15"/>
                  </a:cubicBezTo>
                  <a:cubicBezTo>
                    <a:pt x="24" y="11"/>
                    <a:pt x="16" y="7"/>
                    <a:pt x="10" y="4"/>
                  </a:cubicBezTo>
                  <a:cubicBezTo>
                    <a:pt x="4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18">
              <a:extLst>
                <a:ext uri="{FF2B5EF4-FFF2-40B4-BE49-F238E27FC236}">
                  <a16:creationId xmlns:a16="http://schemas.microsoft.com/office/drawing/2014/main" id="{FCC5D459-5DB2-4B3F-87E7-E40B533B2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" y="3409"/>
              <a:ext cx="600" cy="874"/>
            </a:xfrm>
            <a:custGeom>
              <a:avLst/>
              <a:gdLst>
                <a:gd name="T0" fmla="*/ 44 w 253"/>
                <a:gd name="T1" fmla="*/ 0 h 368"/>
                <a:gd name="T2" fmla="*/ 16 w 253"/>
                <a:gd name="T3" fmla="*/ 89 h 368"/>
                <a:gd name="T4" fmla="*/ 178 w 253"/>
                <a:gd name="T5" fmla="*/ 368 h 368"/>
                <a:gd name="T6" fmla="*/ 253 w 253"/>
                <a:gd name="T7" fmla="*/ 322 h 368"/>
                <a:gd name="T8" fmla="*/ 127 w 253"/>
                <a:gd name="T9" fmla="*/ 71 h 368"/>
                <a:gd name="T10" fmla="*/ 219 w 253"/>
                <a:gd name="T11" fmla="*/ 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368">
                  <a:moveTo>
                    <a:pt x="44" y="0"/>
                  </a:moveTo>
                  <a:cubicBezTo>
                    <a:pt x="12" y="18"/>
                    <a:pt x="0" y="57"/>
                    <a:pt x="16" y="89"/>
                  </a:cubicBezTo>
                  <a:cubicBezTo>
                    <a:pt x="178" y="368"/>
                    <a:pt x="178" y="368"/>
                    <a:pt x="178" y="368"/>
                  </a:cubicBezTo>
                  <a:cubicBezTo>
                    <a:pt x="253" y="322"/>
                    <a:pt x="253" y="322"/>
                    <a:pt x="253" y="322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219" y="12"/>
                    <a:pt x="219" y="12"/>
                    <a:pt x="219" y="12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19">
              <a:extLst>
                <a:ext uri="{FF2B5EF4-FFF2-40B4-BE49-F238E27FC236}">
                  <a16:creationId xmlns:a16="http://schemas.microsoft.com/office/drawing/2014/main" id="{D6AF8FB7-A585-4C3F-8484-61D12D173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9" y="3378"/>
              <a:ext cx="681" cy="933"/>
            </a:xfrm>
            <a:custGeom>
              <a:avLst/>
              <a:gdLst>
                <a:gd name="T0" fmla="*/ 287 w 287"/>
                <a:gd name="T1" fmla="*/ 0 h 393"/>
                <a:gd name="T2" fmla="*/ 64 w 287"/>
                <a:gd name="T3" fmla="*/ 8 h 393"/>
                <a:gd name="T4" fmla="*/ 0 w 287"/>
                <a:gd name="T5" fmla="*/ 75 h 393"/>
                <a:gd name="T6" fmla="*/ 10 w 287"/>
                <a:gd name="T7" fmla="*/ 393 h 393"/>
                <a:gd name="T8" fmla="*/ 103 w 287"/>
                <a:gd name="T9" fmla="*/ 392 h 393"/>
                <a:gd name="T10" fmla="*/ 100 w 287"/>
                <a:gd name="T11" fmla="*/ 92 h 393"/>
                <a:gd name="T12" fmla="*/ 287 w 287"/>
                <a:gd name="T13" fmla="*/ 87 h 393"/>
                <a:gd name="T14" fmla="*/ 287 w 287"/>
                <a:gd name="T15" fmla="*/ 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7" h="393">
                  <a:moveTo>
                    <a:pt x="287" y="0"/>
                  </a:moveTo>
                  <a:cubicBezTo>
                    <a:pt x="64" y="8"/>
                    <a:pt x="64" y="8"/>
                    <a:pt x="64" y="8"/>
                  </a:cubicBezTo>
                  <a:cubicBezTo>
                    <a:pt x="28" y="9"/>
                    <a:pt x="0" y="39"/>
                    <a:pt x="0" y="75"/>
                  </a:cubicBezTo>
                  <a:cubicBezTo>
                    <a:pt x="10" y="393"/>
                    <a:pt x="10" y="393"/>
                    <a:pt x="10" y="393"/>
                  </a:cubicBezTo>
                  <a:cubicBezTo>
                    <a:pt x="103" y="392"/>
                    <a:pt x="103" y="392"/>
                    <a:pt x="103" y="3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287" y="87"/>
                    <a:pt x="287" y="87"/>
                    <a:pt x="287" y="87"/>
                  </a:cubicBezTo>
                  <a:lnTo>
                    <a:pt x="287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20">
              <a:extLst>
                <a:ext uri="{FF2B5EF4-FFF2-40B4-BE49-F238E27FC236}">
                  <a16:creationId xmlns:a16="http://schemas.microsoft.com/office/drawing/2014/main" id="{5EF896C0-87DB-456A-9925-D06077DCF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" y="3622"/>
              <a:ext cx="7" cy="687"/>
            </a:xfrm>
            <a:custGeom>
              <a:avLst/>
              <a:gdLst>
                <a:gd name="T0" fmla="*/ 0 w 3"/>
                <a:gd name="T1" fmla="*/ 0 h 289"/>
                <a:gd name="T2" fmla="*/ 0 w 3"/>
                <a:gd name="T3" fmla="*/ 3 h 289"/>
                <a:gd name="T4" fmla="*/ 1 w 3"/>
                <a:gd name="T5" fmla="*/ 11 h 289"/>
                <a:gd name="T6" fmla="*/ 2 w 3"/>
                <a:gd name="T7" fmla="*/ 42 h 289"/>
                <a:gd name="T8" fmla="*/ 3 w 3"/>
                <a:gd name="T9" fmla="*/ 145 h 289"/>
                <a:gd name="T10" fmla="*/ 3 w 3"/>
                <a:gd name="T11" fmla="*/ 247 h 289"/>
                <a:gd name="T12" fmla="*/ 3 w 3"/>
                <a:gd name="T13" fmla="*/ 278 h 289"/>
                <a:gd name="T14" fmla="*/ 3 w 3"/>
                <a:gd name="T15" fmla="*/ 286 h 289"/>
                <a:gd name="T16" fmla="*/ 3 w 3"/>
                <a:gd name="T17" fmla="*/ 289 h 289"/>
                <a:gd name="T18" fmla="*/ 3 w 3"/>
                <a:gd name="T19" fmla="*/ 286 h 289"/>
                <a:gd name="T20" fmla="*/ 3 w 3"/>
                <a:gd name="T21" fmla="*/ 278 h 289"/>
                <a:gd name="T22" fmla="*/ 2 w 3"/>
                <a:gd name="T23" fmla="*/ 247 h 289"/>
                <a:gd name="T24" fmla="*/ 1 w 3"/>
                <a:gd name="T25" fmla="*/ 145 h 289"/>
                <a:gd name="T26" fmla="*/ 0 w 3"/>
                <a:gd name="T27" fmla="*/ 42 h 289"/>
                <a:gd name="T28" fmla="*/ 0 w 3"/>
                <a:gd name="T29" fmla="*/ 11 h 289"/>
                <a:gd name="T30" fmla="*/ 0 w 3"/>
                <a:gd name="T31" fmla="*/ 3 h 289"/>
                <a:gd name="T32" fmla="*/ 0 w 3"/>
                <a:gd name="T33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89">
                  <a:moveTo>
                    <a:pt x="0" y="0"/>
                  </a:moveTo>
                  <a:cubicBezTo>
                    <a:pt x="0" y="0"/>
                    <a:pt x="0" y="1"/>
                    <a:pt x="0" y="3"/>
                  </a:cubicBezTo>
                  <a:cubicBezTo>
                    <a:pt x="0" y="5"/>
                    <a:pt x="1" y="8"/>
                    <a:pt x="1" y="11"/>
                  </a:cubicBezTo>
                  <a:cubicBezTo>
                    <a:pt x="1" y="19"/>
                    <a:pt x="1" y="29"/>
                    <a:pt x="2" y="42"/>
                  </a:cubicBezTo>
                  <a:cubicBezTo>
                    <a:pt x="2" y="68"/>
                    <a:pt x="2" y="105"/>
                    <a:pt x="3" y="145"/>
                  </a:cubicBezTo>
                  <a:cubicBezTo>
                    <a:pt x="3" y="185"/>
                    <a:pt x="3" y="221"/>
                    <a:pt x="3" y="247"/>
                  </a:cubicBezTo>
                  <a:cubicBezTo>
                    <a:pt x="3" y="260"/>
                    <a:pt x="3" y="270"/>
                    <a:pt x="3" y="278"/>
                  </a:cubicBezTo>
                  <a:cubicBezTo>
                    <a:pt x="3" y="282"/>
                    <a:pt x="3" y="284"/>
                    <a:pt x="3" y="286"/>
                  </a:cubicBezTo>
                  <a:cubicBezTo>
                    <a:pt x="3" y="288"/>
                    <a:pt x="3" y="289"/>
                    <a:pt x="3" y="289"/>
                  </a:cubicBezTo>
                  <a:cubicBezTo>
                    <a:pt x="3" y="289"/>
                    <a:pt x="3" y="288"/>
                    <a:pt x="3" y="286"/>
                  </a:cubicBezTo>
                  <a:cubicBezTo>
                    <a:pt x="3" y="284"/>
                    <a:pt x="3" y="282"/>
                    <a:pt x="3" y="278"/>
                  </a:cubicBezTo>
                  <a:cubicBezTo>
                    <a:pt x="2" y="271"/>
                    <a:pt x="2" y="260"/>
                    <a:pt x="2" y="247"/>
                  </a:cubicBezTo>
                  <a:cubicBezTo>
                    <a:pt x="1" y="221"/>
                    <a:pt x="1" y="185"/>
                    <a:pt x="1" y="145"/>
                  </a:cubicBezTo>
                  <a:cubicBezTo>
                    <a:pt x="0" y="105"/>
                    <a:pt x="0" y="69"/>
                    <a:pt x="0" y="42"/>
                  </a:cubicBezTo>
                  <a:cubicBezTo>
                    <a:pt x="0" y="29"/>
                    <a:pt x="0" y="19"/>
                    <a:pt x="0" y="11"/>
                  </a:cubicBezTo>
                  <a:cubicBezTo>
                    <a:pt x="0" y="8"/>
                    <a:pt x="0" y="5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1">
              <a:extLst>
                <a:ext uri="{FF2B5EF4-FFF2-40B4-BE49-F238E27FC236}">
                  <a16:creationId xmlns:a16="http://schemas.microsoft.com/office/drawing/2014/main" id="{C95AD265-F911-4D67-8AF3-5A3FC8364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898"/>
              <a:ext cx="793" cy="755"/>
            </a:xfrm>
            <a:custGeom>
              <a:avLst/>
              <a:gdLst>
                <a:gd name="T0" fmla="*/ 285 w 334"/>
                <a:gd name="T1" fmla="*/ 0 h 318"/>
                <a:gd name="T2" fmla="*/ 218 w 334"/>
                <a:gd name="T3" fmla="*/ 0 h 318"/>
                <a:gd name="T4" fmla="*/ 169 w 334"/>
                <a:gd name="T5" fmla="*/ 49 h 318"/>
                <a:gd name="T6" fmla="*/ 169 w 334"/>
                <a:gd name="T7" fmla="*/ 284 h 318"/>
                <a:gd name="T8" fmla="*/ 34 w 334"/>
                <a:gd name="T9" fmla="*/ 284 h 318"/>
                <a:gd name="T10" fmla="*/ 0 w 334"/>
                <a:gd name="T11" fmla="*/ 318 h 318"/>
                <a:gd name="T12" fmla="*/ 307 w 334"/>
                <a:gd name="T13" fmla="*/ 318 h 318"/>
                <a:gd name="T14" fmla="*/ 307 w 334"/>
                <a:gd name="T15" fmla="*/ 318 h 318"/>
                <a:gd name="T16" fmla="*/ 334 w 334"/>
                <a:gd name="T17" fmla="*/ 290 h 318"/>
                <a:gd name="T18" fmla="*/ 334 w 334"/>
                <a:gd name="T19" fmla="*/ 49 h 318"/>
                <a:gd name="T20" fmla="*/ 285 w 334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4" h="318">
                  <a:moveTo>
                    <a:pt x="285" y="0"/>
                  </a:moveTo>
                  <a:cubicBezTo>
                    <a:pt x="218" y="0"/>
                    <a:pt x="218" y="0"/>
                    <a:pt x="218" y="0"/>
                  </a:cubicBezTo>
                  <a:cubicBezTo>
                    <a:pt x="191" y="0"/>
                    <a:pt x="169" y="22"/>
                    <a:pt x="169" y="49"/>
                  </a:cubicBezTo>
                  <a:cubicBezTo>
                    <a:pt x="169" y="284"/>
                    <a:pt x="169" y="284"/>
                    <a:pt x="169" y="284"/>
                  </a:cubicBezTo>
                  <a:cubicBezTo>
                    <a:pt x="34" y="284"/>
                    <a:pt x="34" y="284"/>
                    <a:pt x="34" y="284"/>
                  </a:cubicBezTo>
                  <a:cubicBezTo>
                    <a:pt x="16" y="284"/>
                    <a:pt x="0" y="299"/>
                    <a:pt x="0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07" y="318"/>
                    <a:pt x="307" y="318"/>
                    <a:pt x="307" y="318"/>
                  </a:cubicBezTo>
                  <a:cubicBezTo>
                    <a:pt x="322" y="317"/>
                    <a:pt x="334" y="305"/>
                    <a:pt x="334" y="290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22"/>
                    <a:pt x="312" y="0"/>
                    <a:pt x="28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Oval 322">
              <a:extLst>
                <a:ext uri="{FF2B5EF4-FFF2-40B4-BE49-F238E27FC236}">
                  <a16:creationId xmlns:a16="http://schemas.microsoft.com/office/drawing/2014/main" id="{7E2C1050-9C6F-4B2B-9EEE-F6E4E9450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5" y="2917"/>
              <a:ext cx="5" cy="732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23">
              <a:extLst>
                <a:ext uri="{FF2B5EF4-FFF2-40B4-BE49-F238E27FC236}">
                  <a16:creationId xmlns:a16="http://schemas.microsoft.com/office/drawing/2014/main" id="{9D8AB8C5-7BD7-4B6A-8D07-F01485F6C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" y="3653"/>
              <a:ext cx="463" cy="725"/>
            </a:xfrm>
            <a:custGeom>
              <a:avLst/>
              <a:gdLst>
                <a:gd name="T0" fmla="*/ 105 w 195"/>
                <a:gd name="T1" fmla="*/ 246 h 305"/>
                <a:gd name="T2" fmla="*/ 105 w 195"/>
                <a:gd name="T3" fmla="*/ 0 h 305"/>
                <a:gd name="T4" fmla="*/ 83 w 195"/>
                <a:gd name="T5" fmla="*/ 0 h 305"/>
                <a:gd name="T6" fmla="*/ 83 w 195"/>
                <a:gd name="T7" fmla="*/ 246 h 305"/>
                <a:gd name="T8" fmla="*/ 0 w 195"/>
                <a:gd name="T9" fmla="*/ 305 h 305"/>
                <a:gd name="T10" fmla="*/ 195 w 195"/>
                <a:gd name="T11" fmla="*/ 305 h 305"/>
                <a:gd name="T12" fmla="*/ 105 w 195"/>
                <a:gd name="T13" fmla="*/ 246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305">
                  <a:moveTo>
                    <a:pt x="105" y="246"/>
                  </a:moveTo>
                  <a:cubicBezTo>
                    <a:pt x="105" y="0"/>
                    <a:pt x="105" y="0"/>
                    <a:pt x="105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246"/>
                    <a:pt x="83" y="246"/>
                    <a:pt x="83" y="246"/>
                  </a:cubicBezTo>
                  <a:cubicBezTo>
                    <a:pt x="70" y="273"/>
                    <a:pt x="38" y="290"/>
                    <a:pt x="0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55" y="289"/>
                    <a:pt x="120" y="277"/>
                    <a:pt x="105" y="246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24">
              <a:extLst>
                <a:ext uri="{FF2B5EF4-FFF2-40B4-BE49-F238E27FC236}">
                  <a16:creationId xmlns:a16="http://schemas.microsoft.com/office/drawing/2014/main" id="{0306C1CD-1B7F-425A-A329-CCFC7B17C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2775"/>
              <a:ext cx="178" cy="1387"/>
            </a:xfrm>
            <a:custGeom>
              <a:avLst/>
              <a:gdLst>
                <a:gd name="T0" fmla="*/ 61 w 75"/>
                <a:gd name="T1" fmla="*/ 584 h 584"/>
                <a:gd name="T2" fmla="*/ 61 w 75"/>
                <a:gd name="T3" fmla="*/ 583 h 584"/>
                <a:gd name="T4" fmla="*/ 63 w 75"/>
                <a:gd name="T5" fmla="*/ 579 h 584"/>
                <a:gd name="T6" fmla="*/ 69 w 75"/>
                <a:gd name="T7" fmla="*/ 562 h 584"/>
                <a:gd name="T8" fmla="*/ 68 w 75"/>
                <a:gd name="T9" fmla="*/ 497 h 584"/>
                <a:gd name="T10" fmla="*/ 57 w 75"/>
                <a:gd name="T11" fmla="*/ 454 h 584"/>
                <a:gd name="T12" fmla="*/ 41 w 75"/>
                <a:gd name="T13" fmla="*/ 405 h 584"/>
                <a:gd name="T14" fmla="*/ 33 w 75"/>
                <a:gd name="T15" fmla="*/ 348 h 584"/>
                <a:gd name="T16" fmla="*/ 46 w 75"/>
                <a:gd name="T17" fmla="*/ 288 h 584"/>
                <a:gd name="T18" fmla="*/ 61 w 75"/>
                <a:gd name="T19" fmla="*/ 229 h 584"/>
                <a:gd name="T20" fmla="*/ 51 w 75"/>
                <a:gd name="T21" fmla="*/ 174 h 584"/>
                <a:gd name="T22" fmla="*/ 23 w 75"/>
                <a:gd name="T23" fmla="*/ 130 h 584"/>
                <a:gd name="T24" fmla="*/ 6 w 75"/>
                <a:gd name="T25" fmla="*/ 88 h 584"/>
                <a:gd name="T26" fmla="*/ 5 w 75"/>
                <a:gd name="T27" fmla="*/ 23 h 584"/>
                <a:gd name="T28" fmla="*/ 12 w 75"/>
                <a:gd name="T29" fmla="*/ 0 h 584"/>
                <a:gd name="T30" fmla="*/ 12 w 75"/>
                <a:gd name="T31" fmla="*/ 1 h 584"/>
                <a:gd name="T32" fmla="*/ 10 w 75"/>
                <a:gd name="T33" fmla="*/ 6 h 584"/>
                <a:gd name="T34" fmla="*/ 6 w 75"/>
                <a:gd name="T35" fmla="*/ 23 h 584"/>
                <a:gd name="T36" fmla="*/ 8 w 75"/>
                <a:gd name="T37" fmla="*/ 88 h 584"/>
                <a:gd name="T38" fmla="*/ 24 w 75"/>
                <a:gd name="T39" fmla="*/ 129 h 584"/>
                <a:gd name="T40" fmla="*/ 52 w 75"/>
                <a:gd name="T41" fmla="*/ 173 h 584"/>
                <a:gd name="T42" fmla="*/ 63 w 75"/>
                <a:gd name="T43" fmla="*/ 229 h 584"/>
                <a:gd name="T44" fmla="*/ 48 w 75"/>
                <a:gd name="T45" fmla="*/ 288 h 584"/>
                <a:gd name="T46" fmla="*/ 35 w 75"/>
                <a:gd name="T47" fmla="*/ 348 h 584"/>
                <a:gd name="T48" fmla="*/ 43 w 75"/>
                <a:gd name="T49" fmla="*/ 404 h 584"/>
                <a:gd name="T50" fmla="*/ 58 w 75"/>
                <a:gd name="T51" fmla="*/ 454 h 584"/>
                <a:gd name="T52" fmla="*/ 70 w 75"/>
                <a:gd name="T53" fmla="*/ 497 h 584"/>
                <a:gd name="T54" fmla="*/ 70 w 75"/>
                <a:gd name="T55" fmla="*/ 562 h 584"/>
                <a:gd name="T56" fmla="*/ 64 w 75"/>
                <a:gd name="T57" fmla="*/ 579 h 584"/>
                <a:gd name="T58" fmla="*/ 61 w 75"/>
                <a:gd name="T59" fmla="*/ 583 h 584"/>
                <a:gd name="T60" fmla="*/ 61 w 75"/>
                <a:gd name="T61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5" h="584">
                  <a:moveTo>
                    <a:pt x="61" y="584"/>
                  </a:moveTo>
                  <a:cubicBezTo>
                    <a:pt x="61" y="584"/>
                    <a:pt x="61" y="584"/>
                    <a:pt x="61" y="583"/>
                  </a:cubicBezTo>
                  <a:cubicBezTo>
                    <a:pt x="62" y="582"/>
                    <a:pt x="62" y="581"/>
                    <a:pt x="63" y="579"/>
                  </a:cubicBezTo>
                  <a:cubicBezTo>
                    <a:pt x="65" y="575"/>
                    <a:pt x="67" y="570"/>
                    <a:pt x="69" y="562"/>
                  </a:cubicBezTo>
                  <a:cubicBezTo>
                    <a:pt x="73" y="547"/>
                    <a:pt x="74" y="524"/>
                    <a:pt x="68" y="497"/>
                  </a:cubicBezTo>
                  <a:cubicBezTo>
                    <a:pt x="66" y="484"/>
                    <a:pt x="62" y="469"/>
                    <a:pt x="57" y="454"/>
                  </a:cubicBezTo>
                  <a:cubicBezTo>
                    <a:pt x="51" y="439"/>
                    <a:pt x="46" y="422"/>
                    <a:pt x="41" y="405"/>
                  </a:cubicBezTo>
                  <a:cubicBezTo>
                    <a:pt x="36" y="387"/>
                    <a:pt x="32" y="368"/>
                    <a:pt x="33" y="348"/>
                  </a:cubicBezTo>
                  <a:cubicBezTo>
                    <a:pt x="34" y="328"/>
                    <a:pt x="40" y="308"/>
                    <a:pt x="46" y="288"/>
                  </a:cubicBezTo>
                  <a:cubicBezTo>
                    <a:pt x="53" y="268"/>
                    <a:pt x="59" y="248"/>
                    <a:pt x="61" y="229"/>
                  </a:cubicBezTo>
                  <a:cubicBezTo>
                    <a:pt x="64" y="209"/>
                    <a:pt x="60" y="190"/>
                    <a:pt x="51" y="174"/>
                  </a:cubicBezTo>
                  <a:cubicBezTo>
                    <a:pt x="42" y="158"/>
                    <a:pt x="31" y="144"/>
                    <a:pt x="23" y="130"/>
                  </a:cubicBezTo>
                  <a:cubicBezTo>
                    <a:pt x="15" y="116"/>
                    <a:pt x="9" y="102"/>
                    <a:pt x="6" y="88"/>
                  </a:cubicBezTo>
                  <a:cubicBezTo>
                    <a:pt x="0" y="61"/>
                    <a:pt x="2" y="38"/>
                    <a:pt x="5" y="23"/>
                  </a:cubicBezTo>
                  <a:cubicBezTo>
                    <a:pt x="8" y="8"/>
                    <a:pt x="12" y="0"/>
                    <a:pt x="12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1" y="3"/>
                    <a:pt x="11" y="4"/>
                    <a:pt x="10" y="6"/>
                  </a:cubicBezTo>
                  <a:cubicBezTo>
                    <a:pt x="9" y="10"/>
                    <a:pt x="7" y="16"/>
                    <a:pt x="6" y="23"/>
                  </a:cubicBezTo>
                  <a:cubicBezTo>
                    <a:pt x="3" y="38"/>
                    <a:pt x="1" y="61"/>
                    <a:pt x="8" y="88"/>
                  </a:cubicBezTo>
                  <a:cubicBezTo>
                    <a:pt x="11" y="101"/>
                    <a:pt x="16" y="115"/>
                    <a:pt x="24" y="129"/>
                  </a:cubicBezTo>
                  <a:cubicBezTo>
                    <a:pt x="33" y="143"/>
                    <a:pt x="43" y="157"/>
                    <a:pt x="52" y="173"/>
                  </a:cubicBezTo>
                  <a:cubicBezTo>
                    <a:pt x="61" y="189"/>
                    <a:pt x="66" y="209"/>
                    <a:pt x="63" y="229"/>
                  </a:cubicBezTo>
                  <a:cubicBezTo>
                    <a:pt x="61" y="249"/>
                    <a:pt x="55" y="268"/>
                    <a:pt x="48" y="288"/>
                  </a:cubicBezTo>
                  <a:cubicBezTo>
                    <a:pt x="42" y="308"/>
                    <a:pt x="36" y="328"/>
                    <a:pt x="35" y="348"/>
                  </a:cubicBezTo>
                  <a:cubicBezTo>
                    <a:pt x="34" y="368"/>
                    <a:pt x="38" y="387"/>
                    <a:pt x="43" y="404"/>
                  </a:cubicBezTo>
                  <a:cubicBezTo>
                    <a:pt x="47" y="422"/>
                    <a:pt x="53" y="438"/>
                    <a:pt x="58" y="454"/>
                  </a:cubicBezTo>
                  <a:cubicBezTo>
                    <a:pt x="63" y="469"/>
                    <a:pt x="67" y="484"/>
                    <a:pt x="70" y="497"/>
                  </a:cubicBezTo>
                  <a:cubicBezTo>
                    <a:pt x="75" y="524"/>
                    <a:pt x="74" y="547"/>
                    <a:pt x="70" y="562"/>
                  </a:cubicBezTo>
                  <a:cubicBezTo>
                    <a:pt x="68" y="570"/>
                    <a:pt x="65" y="575"/>
                    <a:pt x="64" y="579"/>
                  </a:cubicBezTo>
                  <a:cubicBezTo>
                    <a:pt x="63" y="581"/>
                    <a:pt x="62" y="582"/>
                    <a:pt x="61" y="583"/>
                  </a:cubicBezTo>
                  <a:cubicBezTo>
                    <a:pt x="61" y="584"/>
                    <a:pt x="61" y="584"/>
                    <a:pt x="61" y="58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25">
              <a:extLst>
                <a:ext uri="{FF2B5EF4-FFF2-40B4-BE49-F238E27FC236}">
                  <a16:creationId xmlns:a16="http://schemas.microsoft.com/office/drawing/2014/main" id="{40BA2F72-4F04-46AA-8FC2-A7DFC28B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" y="2915"/>
              <a:ext cx="87" cy="202"/>
            </a:xfrm>
            <a:custGeom>
              <a:avLst/>
              <a:gdLst>
                <a:gd name="T0" fmla="*/ 17 w 37"/>
                <a:gd name="T1" fmla="*/ 85 h 85"/>
                <a:gd name="T2" fmla="*/ 30 w 37"/>
                <a:gd name="T3" fmla="*/ 1 h 85"/>
                <a:gd name="T4" fmla="*/ 33 w 37"/>
                <a:gd name="T5" fmla="*/ 2 h 85"/>
                <a:gd name="T6" fmla="*/ 17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17" y="85"/>
                  </a:moveTo>
                  <a:cubicBezTo>
                    <a:pt x="17" y="85"/>
                    <a:pt x="0" y="32"/>
                    <a:pt x="30" y="1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5" y="11"/>
                    <a:pt x="37" y="37"/>
                    <a:pt x="17" y="85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26">
              <a:extLst>
                <a:ext uri="{FF2B5EF4-FFF2-40B4-BE49-F238E27FC236}">
                  <a16:creationId xmlns:a16="http://schemas.microsoft.com/office/drawing/2014/main" id="{4ED45245-FCAE-4060-868F-D7310A32B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" y="2960"/>
              <a:ext cx="26" cy="157"/>
            </a:xfrm>
            <a:custGeom>
              <a:avLst/>
              <a:gdLst>
                <a:gd name="T0" fmla="*/ 11 w 11"/>
                <a:gd name="T1" fmla="*/ 0 h 66"/>
                <a:gd name="T2" fmla="*/ 10 w 11"/>
                <a:gd name="T3" fmla="*/ 10 h 66"/>
                <a:gd name="T4" fmla="*/ 6 w 11"/>
                <a:gd name="T5" fmla="*/ 33 h 66"/>
                <a:gd name="T6" fmla="*/ 2 w 11"/>
                <a:gd name="T7" fmla="*/ 56 h 66"/>
                <a:gd name="T8" fmla="*/ 1 w 11"/>
                <a:gd name="T9" fmla="*/ 66 h 66"/>
                <a:gd name="T10" fmla="*/ 1 w 11"/>
                <a:gd name="T11" fmla="*/ 56 h 66"/>
                <a:gd name="T12" fmla="*/ 4 w 11"/>
                <a:gd name="T13" fmla="*/ 33 h 66"/>
                <a:gd name="T14" fmla="*/ 8 w 11"/>
                <a:gd name="T15" fmla="*/ 9 h 66"/>
                <a:gd name="T16" fmla="*/ 11 w 11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6">
                  <a:moveTo>
                    <a:pt x="11" y="0"/>
                  </a:moveTo>
                  <a:cubicBezTo>
                    <a:pt x="11" y="0"/>
                    <a:pt x="11" y="4"/>
                    <a:pt x="10" y="10"/>
                  </a:cubicBezTo>
                  <a:cubicBezTo>
                    <a:pt x="9" y="16"/>
                    <a:pt x="7" y="24"/>
                    <a:pt x="6" y="33"/>
                  </a:cubicBezTo>
                  <a:cubicBezTo>
                    <a:pt x="5" y="42"/>
                    <a:pt x="3" y="50"/>
                    <a:pt x="2" y="56"/>
                  </a:cubicBezTo>
                  <a:cubicBezTo>
                    <a:pt x="1" y="62"/>
                    <a:pt x="1" y="66"/>
                    <a:pt x="1" y="66"/>
                  </a:cubicBezTo>
                  <a:cubicBezTo>
                    <a:pt x="0" y="66"/>
                    <a:pt x="0" y="62"/>
                    <a:pt x="1" y="56"/>
                  </a:cubicBezTo>
                  <a:cubicBezTo>
                    <a:pt x="1" y="50"/>
                    <a:pt x="2" y="42"/>
                    <a:pt x="4" y="33"/>
                  </a:cubicBezTo>
                  <a:cubicBezTo>
                    <a:pt x="5" y="23"/>
                    <a:pt x="7" y="15"/>
                    <a:pt x="8" y="9"/>
                  </a:cubicBezTo>
                  <a:cubicBezTo>
                    <a:pt x="10" y="3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27">
              <a:extLst>
                <a:ext uri="{FF2B5EF4-FFF2-40B4-BE49-F238E27FC236}">
                  <a16:creationId xmlns:a16="http://schemas.microsoft.com/office/drawing/2014/main" id="{ACE363C8-D023-4B99-8355-37F0BA9A1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50"/>
              <a:ext cx="128" cy="163"/>
            </a:xfrm>
            <a:custGeom>
              <a:avLst/>
              <a:gdLst>
                <a:gd name="T0" fmla="*/ 0 w 54"/>
                <a:gd name="T1" fmla="*/ 69 h 69"/>
                <a:gd name="T2" fmla="*/ 51 w 54"/>
                <a:gd name="T3" fmla="*/ 1 h 69"/>
                <a:gd name="T4" fmla="*/ 54 w 54"/>
                <a:gd name="T5" fmla="*/ 3 h 69"/>
                <a:gd name="T6" fmla="*/ 0 w 54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9">
                  <a:moveTo>
                    <a:pt x="0" y="69"/>
                  </a:moveTo>
                  <a:cubicBezTo>
                    <a:pt x="0" y="69"/>
                    <a:pt x="11" y="14"/>
                    <a:pt x="51" y="1"/>
                  </a:cubicBezTo>
                  <a:cubicBezTo>
                    <a:pt x="53" y="0"/>
                    <a:pt x="54" y="2"/>
                    <a:pt x="54" y="3"/>
                  </a:cubicBezTo>
                  <a:cubicBezTo>
                    <a:pt x="51" y="12"/>
                    <a:pt x="40" y="36"/>
                    <a:pt x="0" y="69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28">
              <a:extLst>
                <a:ext uri="{FF2B5EF4-FFF2-40B4-BE49-F238E27FC236}">
                  <a16:creationId xmlns:a16="http://schemas.microsoft.com/office/drawing/2014/main" id="{176E159F-A0EB-4BC9-90E6-83085619D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285"/>
              <a:ext cx="95" cy="128"/>
            </a:xfrm>
            <a:custGeom>
              <a:avLst/>
              <a:gdLst>
                <a:gd name="T0" fmla="*/ 40 w 40"/>
                <a:gd name="T1" fmla="*/ 0 h 54"/>
                <a:gd name="T2" fmla="*/ 35 w 40"/>
                <a:gd name="T3" fmla="*/ 8 h 54"/>
                <a:gd name="T4" fmla="*/ 20 w 40"/>
                <a:gd name="T5" fmla="*/ 27 h 54"/>
                <a:gd name="T6" fmla="*/ 6 w 40"/>
                <a:gd name="T7" fmla="*/ 46 h 54"/>
                <a:gd name="T8" fmla="*/ 0 w 40"/>
                <a:gd name="T9" fmla="*/ 54 h 54"/>
                <a:gd name="T10" fmla="*/ 5 w 40"/>
                <a:gd name="T11" fmla="*/ 45 h 54"/>
                <a:gd name="T12" fmla="*/ 19 w 40"/>
                <a:gd name="T13" fmla="*/ 26 h 54"/>
                <a:gd name="T14" fmla="*/ 33 w 40"/>
                <a:gd name="T15" fmla="*/ 7 h 54"/>
                <a:gd name="T16" fmla="*/ 4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40" y="0"/>
                  </a:moveTo>
                  <a:cubicBezTo>
                    <a:pt x="40" y="0"/>
                    <a:pt x="38" y="3"/>
                    <a:pt x="35" y="8"/>
                  </a:cubicBezTo>
                  <a:cubicBezTo>
                    <a:pt x="31" y="14"/>
                    <a:pt x="26" y="20"/>
                    <a:pt x="20" y="27"/>
                  </a:cubicBezTo>
                  <a:cubicBezTo>
                    <a:pt x="15" y="34"/>
                    <a:pt x="10" y="40"/>
                    <a:pt x="6" y="46"/>
                  </a:cubicBezTo>
                  <a:cubicBezTo>
                    <a:pt x="3" y="51"/>
                    <a:pt x="0" y="54"/>
                    <a:pt x="0" y="54"/>
                  </a:cubicBezTo>
                  <a:cubicBezTo>
                    <a:pt x="0" y="53"/>
                    <a:pt x="2" y="50"/>
                    <a:pt x="5" y="45"/>
                  </a:cubicBezTo>
                  <a:cubicBezTo>
                    <a:pt x="8" y="40"/>
                    <a:pt x="13" y="33"/>
                    <a:pt x="19" y="26"/>
                  </a:cubicBezTo>
                  <a:cubicBezTo>
                    <a:pt x="24" y="18"/>
                    <a:pt x="30" y="12"/>
                    <a:pt x="33" y="7"/>
                  </a:cubicBezTo>
                  <a:cubicBezTo>
                    <a:pt x="37" y="3"/>
                    <a:pt x="40" y="0"/>
                    <a:pt x="4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29">
              <a:extLst>
                <a:ext uri="{FF2B5EF4-FFF2-40B4-BE49-F238E27FC236}">
                  <a16:creationId xmlns:a16="http://schemas.microsoft.com/office/drawing/2014/main" id="{8AAF5353-7813-440B-B61F-E347A88C8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6" y="3546"/>
              <a:ext cx="90" cy="193"/>
            </a:xfrm>
            <a:custGeom>
              <a:avLst/>
              <a:gdLst>
                <a:gd name="T0" fmla="*/ 6 w 38"/>
                <a:gd name="T1" fmla="*/ 81 h 81"/>
                <a:gd name="T2" fmla="*/ 35 w 38"/>
                <a:gd name="T3" fmla="*/ 1 h 81"/>
                <a:gd name="T4" fmla="*/ 38 w 38"/>
                <a:gd name="T5" fmla="*/ 2 h 81"/>
                <a:gd name="T6" fmla="*/ 6 w 38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81">
                  <a:moveTo>
                    <a:pt x="6" y="81"/>
                  </a:moveTo>
                  <a:cubicBezTo>
                    <a:pt x="6" y="81"/>
                    <a:pt x="0" y="26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38" y="11"/>
                    <a:pt x="35" y="38"/>
                    <a:pt x="6" y="8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30">
              <a:extLst>
                <a:ext uri="{FF2B5EF4-FFF2-40B4-BE49-F238E27FC236}">
                  <a16:creationId xmlns:a16="http://schemas.microsoft.com/office/drawing/2014/main" id="{9721AAA3-594A-4A12-822E-C7636BE35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" y="3587"/>
              <a:ext cx="55" cy="152"/>
            </a:xfrm>
            <a:custGeom>
              <a:avLst/>
              <a:gdLst>
                <a:gd name="T0" fmla="*/ 23 w 23"/>
                <a:gd name="T1" fmla="*/ 1 h 64"/>
                <a:gd name="T2" fmla="*/ 20 w 23"/>
                <a:gd name="T3" fmla="*/ 10 h 64"/>
                <a:gd name="T4" fmla="*/ 12 w 23"/>
                <a:gd name="T5" fmla="*/ 32 h 64"/>
                <a:gd name="T6" fmla="*/ 4 w 23"/>
                <a:gd name="T7" fmla="*/ 54 h 64"/>
                <a:gd name="T8" fmla="*/ 0 w 23"/>
                <a:gd name="T9" fmla="*/ 64 h 64"/>
                <a:gd name="T10" fmla="*/ 2 w 23"/>
                <a:gd name="T11" fmla="*/ 54 h 64"/>
                <a:gd name="T12" fmla="*/ 10 w 23"/>
                <a:gd name="T13" fmla="*/ 31 h 64"/>
                <a:gd name="T14" fmla="*/ 18 w 23"/>
                <a:gd name="T15" fmla="*/ 9 h 64"/>
                <a:gd name="T16" fmla="*/ 23 w 23"/>
                <a:gd name="T17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4">
                  <a:moveTo>
                    <a:pt x="23" y="1"/>
                  </a:moveTo>
                  <a:cubicBezTo>
                    <a:pt x="23" y="1"/>
                    <a:pt x="22" y="4"/>
                    <a:pt x="20" y="10"/>
                  </a:cubicBezTo>
                  <a:cubicBezTo>
                    <a:pt x="17" y="16"/>
                    <a:pt x="15" y="24"/>
                    <a:pt x="12" y="32"/>
                  </a:cubicBezTo>
                  <a:cubicBezTo>
                    <a:pt x="9" y="40"/>
                    <a:pt x="6" y="48"/>
                    <a:pt x="4" y="54"/>
                  </a:cubicBezTo>
                  <a:cubicBezTo>
                    <a:pt x="2" y="60"/>
                    <a:pt x="0" y="64"/>
                    <a:pt x="0" y="64"/>
                  </a:cubicBezTo>
                  <a:cubicBezTo>
                    <a:pt x="0" y="63"/>
                    <a:pt x="1" y="60"/>
                    <a:pt x="2" y="54"/>
                  </a:cubicBezTo>
                  <a:cubicBezTo>
                    <a:pt x="4" y="48"/>
                    <a:pt x="7" y="40"/>
                    <a:pt x="10" y="31"/>
                  </a:cubicBezTo>
                  <a:cubicBezTo>
                    <a:pt x="13" y="23"/>
                    <a:pt x="16" y="15"/>
                    <a:pt x="18" y="9"/>
                  </a:cubicBezTo>
                  <a:cubicBezTo>
                    <a:pt x="21" y="4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31">
              <a:extLst>
                <a:ext uri="{FF2B5EF4-FFF2-40B4-BE49-F238E27FC236}">
                  <a16:creationId xmlns:a16="http://schemas.microsoft.com/office/drawing/2014/main" id="{58383E01-32DE-4273-ACA2-7146D1FB9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" y="3877"/>
              <a:ext cx="93" cy="187"/>
            </a:xfrm>
            <a:custGeom>
              <a:avLst/>
              <a:gdLst>
                <a:gd name="T0" fmla="*/ 4 w 39"/>
                <a:gd name="T1" fmla="*/ 79 h 79"/>
                <a:gd name="T2" fmla="*/ 36 w 39"/>
                <a:gd name="T3" fmla="*/ 1 h 79"/>
                <a:gd name="T4" fmla="*/ 39 w 39"/>
                <a:gd name="T5" fmla="*/ 2 h 79"/>
                <a:gd name="T6" fmla="*/ 4 w 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79">
                  <a:moveTo>
                    <a:pt x="4" y="79"/>
                  </a:moveTo>
                  <a:cubicBezTo>
                    <a:pt x="4" y="79"/>
                    <a:pt x="0" y="24"/>
                    <a:pt x="36" y="1"/>
                  </a:cubicBezTo>
                  <a:cubicBezTo>
                    <a:pt x="37" y="0"/>
                    <a:pt x="39" y="1"/>
                    <a:pt x="39" y="2"/>
                  </a:cubicBezTo>
                  <a:cubicBezTo>
                    <a:pt x="38" y="11"/>
                    <a:pt x="34" y="37"/>
                    <a:pt x="4" y="7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32">
              <a:extLst>
                <a:ext uri="{FF2B5EF4-FFF2-40B4-BE49-F238E27FC236}">
                  <a16:creationId xmlns:a16="http://schemas.microsoft.com/office/drawing/2014/main" id="{2F85BC01-8F2F-4711-B1A7-344B4B548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917"/>
              <a:ext cx="62" cy="147"/>
            </a:xfrm>
            <a:custGeom>
              <a:avLst/>
              <a:gdLst>
                <a:gd name="T0" fmla="*/ 26 w 26"/>
                <a:gd name="T1" fmla="*/ 0 h 62"/>
                <a:gd name="T2" fmla="*/ 22 w 26"/>
                <a:gd name="T3" fmla="*/ 9 h 62"/>
                <a:gd name="T4" fmla="*/ 14 w 26"/>
                <a:gd name="T5" fmla="*/ 31 h 62"/>
                <a:gd name="T6" fmla="*/ 5 w 26"/>
                <a:gd name="T7" fmla="*/ 53 h 62"/>
                <a:gd name="T8" fmla="*/ 1 w 26"/>
                <a:gd name="T9" fmla="*/ 62 h 62"/>
                <a:gd name="T10" fmla="*/ 3 w 26"/>
                <a:gd name="T11" fmla="*/ 53 h 62"/>
                <a:gd name="T12" fmla="*/ 12 w 26"/>
                <a:gd name="T13" fmla="*/ 30 h 62"/>
                <a:gd name="T14" fmla="*/ 21 w 26"/>
                <a:gd name="T15" fmla="*/ 9 h 62"/>
                <a:gd name="T16" fmla="*/ 26 w 26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62">
                  <a:moveTo>
                    <a:pt x="26" y="0"/>
                  </a:moveTo>
                  <a:cubicBezTo>
                    <a:pt x="26" y="0"/>
                    <a:pt x="25" y="4"/>
                    <a:pt x="22" y="9"/>
                  </a:cubicBezTo>
                  <a:cubicBezTo>
                    <a:pt x="20" y="16"/>
                    <a:pt x="17" y="23"/>
                    <a:pt x="14" y="31"/>
                  </a:cubicBezTo>
                  <a:cubicBezTo>
                    <a:pt x="10" y="39"/>
                    <a:pt x="7" y="47"/>
                    <a:pt x="5" y="53"/>
                  </a:cubicBezTo>
                  <a:cubicBezTo>
                    <a:pt x="2" y="59"/>
                    <a:pt x="1" y="62"/>
                    <a:pt x="1" y="62"/>
                  </a:cubicBezTo>
                  <a:cubicBezTo>
                    <a:pt x="0" y="62"/>
                    <a:pt x="1" y="58"/>
                    <a:pt x="3" y="53"/>
                  </a:cubicBezTo>
                  <a:cubicBezTo>
                    <a:pt x="5" y="47"/>
                    <a:pt x="8" y="39"/>
                    <a:pt x="12" y="30"/>
                  </a:cubicBezTo>
                  <a:cubicBezTo>
                    <a:pt x="15" y="22"/>
                    <a:pt x="19" y="14"/>
                    <a:pt x="21" y="9"/>
                  </a:cubicBezTo>
                  <a:cubicBezTo>
                    <a:pt x="24" y="3"/>
                    <a:pt x="25" y="0"/>
                    <a:pt x="2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33">
              <a:extLst>
                <a:ext uri="{FF2B5EF4-FFF2-40B4-BE49-F238E27FC236}">
                  <a16:creationId xmlns:a16="http://schemas.microsoft.com/office/drawing/2014/main" id="{A3E27645-CD41-4B20-B046-F7FC6E0BB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2839"/>
              <a:ext cx="119" cy="168"/>
            </a:xfrm>
            <a:custGeom>
              <a:avLst/>
              <a:gdLst>
                <a:gd name="T0" fmla="*/ 50 w 50"/>
                <a:gd name="T1" fmla="*/ 71 h 71"/>
                <a:gd name="T2" fmla="*/ 0 w 50"/>
                <a:gd name="T3" fmla="*/ 2 h 71"/>
                <a:gd name="T4" fmla="*/ 3 w 50"/>
                <a:gd name="T5" fmla="*/ 0 h 71"/>
                <a:gd name="T6" fmla="*/ 50 w 50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71">
                  <a:moveTo>
                    <a:pt x="50" y="71"/>
                  </a:moveTo>
                  <a:cubicBezTo>
                    <a:pt x="50" y="71"/>
                    <a:pt x="1" y="45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10" y="5"/>
                    <a:pt x="30" y="23"/>
                    <a:pt x="50" y="71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34">
              <a:extLst>
                <a:ext uri="{FF2B5EF4-FFF2-40B4-BE49-F238E27FC236}">
                  <a16:creationId xmlns:a16="http://schemas.microsoft.com/office/drawing/2014/main" id="{5C1D7D4E-F4BC-4EDC-A027-8866AEA47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" y="2879"/>
              <a:ext cx="95" cy="128"/>
            </a:xfrm>
            <a:custGeom>
              <a:avLst/>
              <a:gdLst>
                <a:gd name="T0" fmla="*/ 0 w 40"/>
                <a:gd name="T1" fmla="*/ 0 h 54"/>
                <a:gd name="T2" fmla="*/ 6 w 40"/>
                <a:gd name="T3" fmla="*/ 7 h 54"/>
                <a:gd name="T4" fmla="*/ 20 w 40"/>
                <a:gd name="T5" fmla="*/ 27 h 54"/>
                <a:gd name="T6" fmla="*/ 34 w 40"/>
                <a:gd name="T7" fmla="*/ 46 h 54"/>
                <a:gd name="T8" fmla="*/ 40 w 40"/>
                <a:gd name="T9" fmla="*/ 54 h 54"/>
                <a:gd name="T10" fmla="*/ 33 w 40"/>
                <a:gd name="T11" fmla="*/ 47 h 54"/>
                <a:gd name="T12" fmla="*/ 19 w 40"/>
                <a:gd name="T13" fmla="*/ 28 h 54"/>
                <a:gd name="T14" fmla="*/ 5 w 40"/>
                <a:gd name="T15" fmla="*/ 8 h 54"/>
                <a:gd name="T16" fmla="*/ 0 w 40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54">
                  <a:moveTo>
                    <a:pt x="0" y="0"/>
                  </a:moveTo>
                  <a:cubicBezTo>
                    <a:pt x="1" y="0"/>
                    <a:pt x="3" y="3"/>
                    <a:pt x="6" y="7"/>
                  </a:cubicBezTo>
                  <a:cubicBezTo>
                    <a:pt x="10" y="13"/>
                    <a:pt x="15" y="19"/>
                    <a:pt x="20" y="27"/>
                  </a:cubicBezTo>
                  <a:cubicBezTo>
                    <a:pt x="25" y="34"/>
                    <a:pt x="30" y="40"/>
                    <a:pt x="34" y="46"/>
                  </a:cubicBezTo>
                  <a:cubicBezTo>
                    <a:pt x="38" y="51"/>
                    <a:pt x="40" y="54"/>
                    <a:pt x="40" y="54"/>
                  </a:cubicBezTo>
                  <a:cubicBezTo>
                    <a:pt x="40" y="54"/>
                    <a:pt x="37" y="51"/>
                    <a:pt x="33" y="47"/>
                  </a:cubicBezTo>
                  <a:cubicBezTo>
                    <a:pt x="29" y="42"/>
                    <a:pt x="24" y="35"/>
                    <a:pt x="19" y="28"/>
                  </a:cubicBezTo>
                  <a:cubicBezTo>
                    <a:pt x="13" y="20"/>
                    <a:pt x="8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35">
              <a:extLst>
                <a:ext uri="{FF2B5EF4-FFF2-40B4-BE49-F238E27FC236}">
                  <a16:creationId xmlns:a16="http://schemas.microsoft.com/office/drawing/2014/main" id="{E0D2E6D4-B0DA-4464-8D0F-D5E792068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3114"/>
              <a:ext cx="128" cy="162"/>
            </a:xfrm>
            <a:custGeom>
              <a:avLst/>
              <a:gdLst>
                <a:gd name="T0" fmla="*/ 54 w 54"/>
                <a:gd name="T1" fmla="*/ 68 h 68"/>
                <a:gd name="T2" fmla="*/ 0 w 54"/>
                <a:gd name="T3" fmla="*/ 3 h 68"/>
                <a:gd name="T4" fmla="*/ 3 w 54"/>
                <a:gd name="T5" fmla="*/ 1 h 68"/>
                <a:gd name="T6" fmla="*/ 54 w 5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68">
                  <a:moveTo>
                    <a:pt x="54" y="68"/>
                  </a:moveTo>
                  <a:cubicBezTo>
                    <a:pt x="54" y="68"/>
                    <a:pt x="3" y="46"/>
                    <a:pt x="0" y="3"/>
                  </a:cubicBezTo>
                  <a:cubicBezTo>
                    <a:pt x="0" y="1"/>
                    <a:pt x="1" y="0"/>
                    <a:pt x="3" y="1"/>
                  </a:cubicBezTo>
                  <a:cubicBezTo>
                    <a:pt x="10" y="6"/>
                    <a:pt x="31" y="22"/>
                    <a:pt x="54" y="68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36">
              <a:extLst>
                <a:ext uri="{FF2B5EF4-FFF2-40B4-BE49-F238E27FC236}">
                  <a16:creationId xmlns:a16="http://schemas.microsoft.com/office/drawing/2014/main" id="{9BD86E58-814B-423F-ABE4-F64D5D2ED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" y="3155"/>
              <a:ext cx="102" cy="123"/>
            </a:xfrm>
            <a:custGeom>
              <a:avLst/>
              <a:gdLst>
                <a:gd name="T0" fmla="*/ 0 w 43"/>
                <a:gd name="T1" fmla="*/ 0 h 52"/>
                <a:gd name="T2" fmla="*/ 6 w 43"/>
                <a:gd name="T3" fmla="*/ 7 h 52"/>
                <a:gd name="T4" fmla="*/ 21 w 43"/>
                <a:gd name="T5" fmla="*/ 26 h 52"/>
                <a:gd name="T6" fmla="*/ 36 w 43"/>
                <a:gd name="T7" fmla="*/ 44 h 52"/>
                <a:gd name="T8" fmla="*/ 43 w 43"/>
                <a:gd name="T9" fmla="*/ 51 h 52"/>
                <a:gd name="T10" fmla="*/ 35 w 43"/>
                <a:gd name="T11" fmla="*/ 45 h 52"/>
                <a:gd name="T12" fmla="*/ 20 w 43"/>
                <a:gd name="T13" fmla="*/ 27 h 52"/>
                <a:gd name="T14" fmla="*/ 5 w 43"/>
                <a:gd name="T15" fmla="*/ 8 h 52"/>
                <a:gd name="T16" fmla="*/ 0 w 43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52">
                  <a:moveTo>
                    <a:pt x="0" y="0"/>
                  </a:moveTo>
                  <a:cubicBezTo>
                    <a:pt x="0" y="0"/>
                    <a:pt x="3" y="3"/>
                    <a:pt x="6" y="7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2"/>
                    <a:pt x="32" y="39"/>
                    <a:pt x="36" y="44"/>
                  </a:cubicBezTo>
                  <a:cubicBezTo>
                    <a:pt x="40" y="48"/>
                    <a:pt x="43" y="51"/>
                    <a:pt x="43" y="51"/>
                  </a:cubicBezTo>
                  <a:cubicBezTo>
                    <a:pt x="42" y="52"/>
                    <a:pt x="40" y="49"/>
                    <a:pt x="35" y="45"/>
                  </a:cubicBezTo>
                  <a:cubicBezTo>
                    <a:pt x="31" y="40"/>
                    <a:pt x="26" y="34"/>
                    <a:pt x="20" y="27"/>
                  </a:cubicBezTo>
                  <a:cubicBezTo>
                    <a:pt x="14" y="20"/>
                    <a:pt x="9" y="13"/>
                    <a:pt x="5" y="8"/>
                  </a:cubicBezTo>
                  <a:cubicBezTo>
                    <a:pt x="2" y="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37">
              <a:extLst>
                <a:ext uri="{FF2B5EF4-FFF2-40B4-BE49-F238E27FC236}">
                  <a16:creationId xmlns:a16="http://schemas.microsoft.com/office/drawing/2014/main" id="{5F427656-DCDA-493D-83EC-01BC41592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" y="3378"/>
              <a:ext cx="85" cy="199"/>
            </a:xfrm>
            <a:custGeom>
              <a:avLst/>
              <a:gdLst>
                <a:gd name="T0" fmla="*/ 35 w 36"/>
                <a:gd name="T1" fmla="*/ 84 h 84"/>
                <a:gd name="T2" fmla="*/ 16 w 36"/>
                <a:gd name="T3" fmla="*/ 1 h 84"/>
                <a:gd name="T4" fmla="*/ 20 w 36"/>
                <a:gd name="T5" fmla="*/ 1 h 84"/>
                <a:gd name="T6" fmla="*/ 35 w 36"/>
                <a:gd name="T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84">
                  <a:moveTo>
                    <a:pt x="35" y="84"/>
                  </a:moveTo>
                  <a:cubicBezTo>
                    <a:pt x="35" y="84"/>
                    <a:pt x="0" y="41"/>
                    <a:pt x="16" y="1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4" y="8"/>
                    <a:pt x="36" y="32"/>
                    <a:pt x="35" y="84"/>
                  </a:cubicBezTo>
                  <a:close/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38">
              <a:extLst>
                <a:ext uri="{FF2B5EF4-FFF2-40B4-BE49-F238E27FC236}">
                  <a16:creationId xmlns:a16="http://schemas.microsoft.com/office/drawing/2014/main" id="{F87667CB-BD43-4400-97A2-5A218C700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" y="3423"/>
              <a:ext cx="36" cy="154"/>
            </a:xfrm>
            <a:custGeom>
              <a:avLst/>
              <a:gdLst>
                <a:gd name="T0" fmla="*/ 0 w 15"/>
                <a:gd name="T1" fmla="*/ 0 h 65"/>
                <a:gd name="T2" fmla="*/ 2 w 15"/>
                <a:gd name="T3" fmla="*/ 9 h 65"/>
                <a:gd name="T4" fmla="*/ 7 w 15"/>
                <a:gd name="T5" fmla="*/ 32 h 65"/>
                <a:gd name="T6" fmla="*/ 12 w 15"/>
                <a:gd name="T7" fmla="*/ 55 h 65"/>
                <a:gd name="T8" fmla="*/ 14 w 15"/>
                <a:gd name="T9" fmla="*/ 65 h 65"/>
                <a:gd name="T10" fmla="*/ 11 w 15"/>
                <a:gd name="T11" fmla="*/ 56 h 65"/>
                <a:gd name="T12" fmla="*/ 5 w 15"/>
                <a:gd name="T13" fmla="*/ 33 h 65"/>
                <a:gd name="T14" fmla="*/ 1 w 15"/>
                <a:gd name="T15" fmla="*/ 10 h 65"/>
                <a:gd name="T16" fmla="*/ 0 w 15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5">
                  <a:moveTo>
                    <a:pt x="0" y="0"/>
                  </a:moveTo>
                  <a:cubicBezTo>
                    <a:pt x="0" y="0"/>
                    <a:pt x="1" y="3"/>
                    <a:pt x="2" y="9"/>
                  </a:cubicBezTo>
                  <a:cubicBezTo>
                    <a:pt x="4" y="16"/>
                    <a:pt x="6" y="24"/>
                    <a:pt x="7" y="32"/>
                  </a:cubicBezTo>
                  <a:cubicBezTo>
                    <a:pt x="9" y="41"/>
                    <a:pt x="11" y="49"/>
                    <a:pt x="12" y="55"/>
                  </a:cubicBezTo>
                  <a:cubicBezTo>
                    <a:pt x="14" y="61"/>
                    <a:pt x="15" y="65"/>
                    <a:pt x="14" y="65"/>
                  </a:cubicBezTo>
                  <a:cubicBezTo>
                    <a:pt x="14" y="65"/>
                    <a:pt x="13" y="62"/>
                    <a:pt x="11" y="56"/>
                  </a:cubicBezTo>
                  <a:cubicBezTo>
                    <a:pt x="9" y="50"/>
                    <a:pt x="7" y="42"/>
                    <a:pt x="5" y="33"/>
                  </a:cubicBezTo>
                  <a:cubicBezTo>
                    <a:pt x="3" y="24"/>
                    <a:pt x="2" y="16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39">
              <a:extLst>
                <a:ext uri="{FF2B5EF4-FFF2-40B4-BE49-F238E27FC236}">
                  <a16:creationId xmlns:a16="http://schemas.microsoft.com/office/drawing/2014/main" id="{F7D08844-0348-4AA7-A0D4-F7B4942D7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6" y="3767"/>
              <a:ext cx="126" cy="164"/>
            </a:xfrm>
            <a:custGeom>
              <a:avLst/>
              <a:gdLst>
                <a:gd name="T0" fmla="*/ 53 w 53"/>
                <a:gd name="T1" fmla="*/ 69 h 69"/>
                <a:gd name="T2" fmla="*/ 0 w 53"/>
                <a:gd name="T3" fmla="*/ 3 h 69"/>
                <a:gd name="T4" fmla="*/ 3 w 53"/>
                <a:gd name="T5" fmla="*/ 1 h 69"/>
                <a:gd name="T6" fmla="*/ 53 w 53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69">
                  <a:moveTo>
                    <a:pt x="53" y="69"/>
                  </a:moveTo>
                  <a:cubicBezTo>
                    <a:pt x="53" y="69"/>
                    <a:pt x="3" y="46"/>
                    <a:pt x="0" y="3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11" y="6"/>
                    <a:pt x="32" y="23"/>
                    <a:pt x="53" y="69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40">
              <a:extLst>
                <a:ext uri="{FF2B5EF4-FFF2-40B4-BE49-F238E27FC236}">
                  <a16:creationId xmlns:a16="http://schemas.microsoft.com/office/drawing/2014/main" id="{C5E6BDCD-494D-4D65-B87A-4B2F15F9A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" y="3808"/>
              <a:ext cx="100" cy="126"/>
            </a:xfrm>
            <a:custGeom>
              <a:avLst/>
              <a:gdLst>
                <a:gd name="T0" fmla="*/ 0 w 42"/>
                <a:gd name="T1" fmla="*/ 0 h 53"/>
                <a:gd name="T2" fmla="*/ 6 w 42"/>
                <a:gd name="T3" fmla="*/ 8 h 53"/>
                <a:gd name="T4" fmla="*/ 21 w 42"/>
                <a:gd name="T5" fmla="*/ 26 h 53"/>
                <a:gd name="T6" fmla="*/ 36 w 42"/>
                <a:gd name="T7" fmla="*/ 45 h 53"/>
                <a:gd name="T8" fmla="*/ 42 w 42"/>
                <a:gd name="T9" fmla="*/ 53 h 53"/>
                <a:gd name="T10" fmla="*/ 35 w 42"/>
                <a:gd name="T11" fmla="*/ 46 h 53"/>
                <a:gd name="T12" fmla="*/ 20 w 42"/>
                <a:gd name="T13" fmla="*/ 28 h 53"/>
                <a:gd name="T14" fmla="*/ 5 w 42"/>
                <a:gd name="T15" fmla="*/ 9 h 53"/>
                <a:gd name="T16" fmla="*/ 0 w 42"/>
                <a:gd name="T1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53">
                  <a:moveTo>
                    <a:pt x="0" y="0"/>
                  </a:moveTo>
                  <a:cubicBezTo>
                    <a:pt x="0" y="0"/>
                    <a:pt x="3" y="3"/>
                    <a:pt x="6" y="8"/>
                  </a:cubicBezTo>
                  <a:cubicBezTo>
                    <a:pt x="11" y="13"/>
                    <a:pt x="16" y="19"/>
                    <a:pt x="21" y="26"/>
                  </a:cubicBezTo>
                  <a:cubicBezTo>
                    <a:pt x="27" y="33"/>
                    <a:pt x="32" y="39"/>
                    <a:pt x="36" y="45"/>
                  </a:cubicBezTo>
                  <a:cubicBezTo>
                    <a:pt x="40" y="49"/>
                    <a:pt x="42" y="52"/>
                    <a:pt x="42" y="53"/>
                  </a:cubicBezTo>
                  <a:cubicBezTo>
                    <a:pt x="42" y="53"/>
                    <a:pt x="39" y="50"/>
                    <a:pt x="35" y="46"/>
                  </a:cubicBezTo>
                  <a:cubicBezTo>
                    <a:pt x="31" y="41"/>
                    <a:pt x="25" y="35"/>
                    <a:pt x="20" y="28"/>
                  </a:cubicBezTo>
                  <a:cubicBezTo>
                    <a:pt x="14" y="20"/>
                    <a:pt x="9" y="14"/>
                    <a:pt x="5" y="9"/>
                  </a:cubicBezTo>
                  <a:cubicBezTo>
                    <a:pt x="2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41">
              <a:extLst>
                <a:ext uri="{FF2B5EF4-FFF2-40B4-BE49-F238E27FC236}">
                  <a16:creationId xmlns:a16="http://schemas.microsoft.com/office/drawing/2014/main" id="{2DAE1AB6-0459-49DE-BD9C-1F3640A2C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" y="3413"/>
              <a:ext cx="228" cy="592"/>
            </a:xfrm>
            <a:custGeom>
              <a:avLst/>
              <a:gdLst>
                <a:gd name="T0" fmla="*/ 96 w 96"/>
                <a:gd name="T1" fmla="*/ 0 h 249"/>
                <a:gd name="T2" fmla="*/ 96 w 96"/>
                <a:gd name="T3" fmla="*/ 1 h 249"/>
                <a:gd name="T4" fmla="*/ 96 w 96"/>
                <a:gd name="T5" fmla="*/ 5 h 249"/>
                <a:gd name="T6" fmla="*/ 96 w 96"/>
                <a:gd name="T7" fmla="*/ 18 h 249"/>
                <a:gd name="T8" fmla="*/ 93 w 96"/>
                <a:gd name="T9" fmla="*/ 66 h 249"/>
                <a:gd name="T10" fmla="*/ 93 w 96"/>
                <a:gd name="T11" fmla="*/ 67 h 249"/>
                <a:gd name="T12" fmla="*/ 93 w 96"/>
                <a:gd name="T13" fmla="*/ 67 h 249"/>
                <a:gd name="T14" fmla="*/ 66 w 96"/>
                <a:gd name="T15" fmla="*/ 131 h 249"/>
                <a:gd name="T16" fmla="*/ 36 w 96"/>
                <a:gd name="T17" fmla="*/ 174 h 249"/>
                <a:gd name="T18" fmla="*/ 14 w 96"/>
                <a:gd name="T19" fmla="*/ 211 h 249"/>
                <a:gd name="T20" fmla="*/ 3 w 96"/>
                <a:gd name="T21" fmla="*/ 238 h 249"/>
                <a:gd name="T22" fmla="*/ 1 w 96"/>
                <a:gd name="T23" fmla="*/ 246 h 249"/>
                <a:gd name="T24" fmla="*/ 0 w 96"/>
                <a:gd name="T25" fmla="*/ 249 h 249"/>
                <a:gd name="T26" fmla="*/ 1 w 96"/>
                <a:gd name="T27" fmla="*/ 246 h 249"/>
                <a:gd name="T28" fmla="*/ 2 w 96"/>
                <a:gd name="T29" fmla="*/ 238 h 249"/>
                <a:gd name="T30" fmla="*/ 12 w 96"/>
                <a:gd name="T31" fmla="*/ 211 h 249"/>
                <a:gd name="T32" fmla="*/ 34 w 96"/>
                <a:gd name="T33" fmla="*/ 173 h 249"/>
                <a:gd name="T34" fmla="*/ 64 w 96"/>
                <a:gd name="T35" fmla="*/ 129 h 249"/>
                <a:gd name="T36" fmla="*/ 91 w 96"/>
                <a:gd name="T37" fmla="*/ 66 h 249"/>
                <a:gd name="T38" fmla="*/ 91 w 96"/>
                <a:gd name="T39" fmla="*/ 66 h 249"/>
                <a:gd name="T40" fmla="*/ 95 w 96"/>
                <a:gd name="T41" fmla="*/ 18 h 249"/>
                <a:gd name="T42" fmla="*/ 96 w 96"/>
                <a:gd name="T43" fmla="*/ 5 h 249"/>
                <a:gd name="T44" fmla="*/ 96 w 96"/>
                <a:gd name="T45" fmla="*/ 1 h 249"/>
                <a:gd name="T46" fmla="*/ 96 w 96"/>
                <a:gd name="T4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" h="249">
                  <a:moveTo>
                    <a:pt x="96" y="0"/>
                  </a:moveTo>
                  <a:cubicBezTo>
                    <a:pt x="96" y="0"/>
                    <a:pt x="96" y="1"/>
                    <a:pt x="96" y="1"/>
                  </a:cubicBezTo>
                  <a:cubicBezTo>
                    <a:pt x="96" y="2"/>
                    <a:pt x="96" y="4"/>
                    <a:pt x="96" y="5"/>
                  </a:cubicBezTo>
                  <a:cubicBezTo>
                    <a:pt x="96" y="8"/>
                    <a:pt x="96" y="13"/>
                    <a:pt x="96" y="18"/>
                  </a:cubicBezTo>
                  <a:cubicBezTo>
                    <a:pt x="95" y="30"/>
                    <a:pt x="94" y="47"/>
                    <a:pt x="93" y="6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87"/>
                    <a:pt x="79" y="109"/>
                    <a:pt x="66" y="131"/>
                  </a:cubicBezTo>
                  <a:cubicBezTo>
                    <a:pt x="55" y="146"/>
                    <a:pt x="45" y="161"/>
                    <a:pt x="36" y="174"/>
                  </a:cubicBezTo>
                  <a:cubicBezTo>
                    <a:pt x="27" y="188"/>
                    <a:pt x="19" y="200"/>
                    <a:pt x="14" y="211"/>
                  </a:cubicBezTo>
                  <a:cubicBezTo>
                    <a:pt x="8" y="222"/>
                    <a:pt x="5" y="232"/>
                    <a:pt x="3" y="238"/>
                  </a:cubicBezTo>
                  <a:cubicBezTo>
                    <a:pt x="2" y="242"/>
                    <a:pt x="2" y="244"/>
                    <a:pt x="1" y="246"/>
                  </a:cubicBezTo>
                  <a:cubicBezTo>
                    <a:pt x="1" y="248"/>
                    <a:pt x="1" y="249"/>
                    <a:pt x="0" y="249"/>
                  </a:cubicBezTo>
                  <a:cubicBezTo>
                    <a:pt x="0" y="249"/>
                    <a:pt x="0" y="248"/>
                    <a:pt x="1" y="246"/>
                  </a:cubicBezTo>
                  <a:cubicBezTo>
                    <a:pt x="1" y="244"/>
                    <a:pt x="2" y="241"/>
                    <a:pt x="2" y="238"/>
                  </a:cubicBezTo>
                  <a:cubicBezTo>
                    <a:pt x="4" y="231"/>
                    <a:pt x="7" y="222"/>
                    <a:pt x="12" y="211"/>
                  </a:cubicBezTo>
                  <a:cubicBezTo>
                    <a:pt x="17" y="199"/>
                    <a:pt x="25" y="187"/>
                    <a:pt x="34" y="173"/>
                  </a:cubicBezTo>
                  <a:cubicBezTo>
                    <a:pt x="43" y="160"/>
                    <a:pt x="54" y="145"/>
                    <a:pt x="64" y="129"/>
                  </a:cubicBezTo>
                  <a:cubicBezTo>
                    <a:pt x="77" y="108"/>
                    <a:pt x="88" y="8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3" y="47"/>
                    <a:pt x="94" y="30"/>
                    <a:pt x="95" y="18"/>
                  </a:cubicBezTo>
                  <a:cubicBezTo>
                    <a:pt x="95" y="13"/>
                    <a:pt x="96" y="8"/>
                    <a:pt x="96" y="5"/>
                  </a:cubicBezTo>
                  <a:cubicBezTo>
                    <a:pt x="96" y="4"/>
                    <a:pt x="96" y="2"/>
                    <a:pt x="96" y="1"/>
                  </a:cubicBezTo>
                  <a:cubicBezTo>
                    <a:pt x="96" y="1"/>
                    <a:pt x="96" y="0"/>
                    <a:pt x="96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2">
              <a:extLst>
                <a:ext uri="{FF2B5EF4-FFF2-40B4-BE49-F238E27FC236}">
                  <a16:creationId xmlns:a16="http://schemas.microsoft.com/office/drawing/2014/main" id="{4746FF5A-7308-43EC-B1A5-9DB728ED9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2" y="3508"/>
              <a:ext cx="88" cy="205"/>
            </a:xfrm>
            <a:custGeom>
              <a:avLst/>
              <a:gdLst>
                <a:gd name="T0" fmla="*/ 15 w 37"/>
                <a:gd name="T1" fmla="*/ 86 h 86"/>
                <a:gd name="T2" fmla="*/ 10 w 37"/>
                <a:gd name="T3" fmla="*/ 2 h 86"/>
                <a:gd name="T4" fmla="*/ 7 w 37"/>
                <a:gd name="T5" fmla="*/ 2 h 86"/>
                <a:gd name="T6" fmla="*/ 15 w 37"/>
                <a:gd name="T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6">
                  <a:moveTo>
                    <a:pt x="15" y="86"/>
                  </a:moveTo>
                  <a:cubicBezTo>
                    <a:pt x="15" y="86"/>
                    <a:pt x="37" y="35"/>
                    <a:pt x="10" y="2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4" y="11"/>
                    <a:pt x="0" y="37"/>
                    <a:pt x="15" y="86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43">
              <a:extLst>
                <a:ext uri="{FF2B5EF4-FFF2-40B4-BE49-F238E27FC236}">
                  <a16:creationId xmlns:a16="http://schemas.microsoft.com/office/drawing/2014/main" id="{D81EE39E-E6EF-420E-AF2A-0062188E6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2 w 5"/>
                <a:gd name="T3" fmla="*/ 10 h 67"/>
                <a:gd name="T4" fmla="*/ 5 w 5"/>
                <a:gd name="T5" fmla="*/ 34 h 67"/>
                <a:gd name="T6" fmla="*/ 5 w 5"/>
                <a:gd name="T7" fmla="*/ 57 h 67"/>
                <a:gd name="T8" fmla="*/ 5 w 5"/>
                <a:gd name="T9" fmla="*/ 67 h 67"/>
                <a:gd name="T10" fmla="*/ 4 w 5"/>
                <a:gd name="T11" fmla="*/ 57 h 67"/>
                <a:gd name="T12" fmla="*/ 2 w 5"/>
                <a:gd name="T13" fmla="*/ 34 h 67"/>
                <a:gd name="T14" fmla="*/ 1 w 5"/>
                <a:gd name="T15" fmla="*/ 10 h 67"/>
                <a:gd name="T16" fmla="*/ 1 w 5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2" y="4"/>
                    <a:pt x="2" y="10"/>
                  </a:cubicBezTo>
                  <a:cubicBezTo>
                    <a:pt x="3" y="16"/>
                    <a:pt x="4" y="25"/>
                    <a:pt x="5" y="34"/>
                  </a:cubicBezTo>
                  <a:cubicBezTo>
                    <a:pt x="5" y="43"/>
                    <a:pt x="5" y="51"/>
                    <a:pt x="5" y="57"/>
                  </a:cubicBezTo>
                  <a:cubicBezTo>
                    <a:pt x="5" y="64"/>
                    <a:pt x="5" y="67"/>
                    <a:pt x="5" y="67"/>
                  </a:cubicBezTo>
                  <a:cubicBezTo>
                    <a:pt x="5" y="67"/>
                    <a:pt x="4" y="64"/>
                    <a:pt x="4" y="57"/>
                  </a:cubicBezTo>
                  <a:cubicBezTo>
                    <a:pt x="4" y="51"/>
                    <a:pt x="3" y="43"/>
                    <a:pt x="2" y="34"/>
                  </a:cubicBezTo>
                  <a:cubicBezTo>
                    <a:pt x="2" y="25"/>
                    <a:pt x="1" y="17"/>
                    <a:pt x="1" y="10"/>
                  </a:cubicBezTo>
                  <a:cubicBezTo>
                    <a:pt x="0" y="4"/>
                    <a:pt x="0" y="0"/>
                    <a:pt x="1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44">
              <a:extLst>
                <a:ext uri="{FF2B5EF4-FFF2-40B4-BE49-F238E27FC236}">
                  <a16:creationId xmlns:a16="http://schemas.microsoft.com/office/drawing/2014/main" id="{A6AD6722-82D0-4958-8609-BA9BF58EB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3511"/>
              <a:ext cx="45" cy="202"/>
            </a:xfrm>
            <a:custGeom>
              <a:avLst/>
              <a:gdLst>
                <a:gd name="T0" fmla="*/ 5 w 19"/>
                <a:gd name="T1" fmla="*/ 0 h 85"/>
                <a:gd name="T2" fmla="*/ 3 w 19"/>
                <a:gd name="T3" fmla="*/ 1 h 85"/>
                <a:gd name="T4" fmla="*/ 0 w 19"/>
                <a:gd name="T5" fmla="*/ 23 h 85"/>
                <a:gd name="T6" fmla="*/ 11 w 19"/>
                <a:gd name="T7" fmla="*/ 85 h 85"/>
                <a:gd name="T8" fmla="*/ 12 w 19"/>
                <a:gd name="T9" fmla="*/ 85 h 85"/>
                <a:gd name="T10" fmla="*/ 11 w 19"/>
                <a:gd name="T11" fmla="*/ 75 h 85"/>
                <a:gd name="T12" fmla="*/ 9 w 19"/>
                <a:gd name="T13" fmla="*/ 52 h 85"/>
                <a:gd name="T14" fmla="*/ 8 w 19"/>
                <a:gd name="T15" fmla="*/ 28 h 85"/>
                <a:gd name="T16" fmla="*/ 8 w 19"/>
                <a:gd name="T17" fmla="*/ 18 h 85"/>
                <a:gd name="T18" fmla="*/ 8 w 19"/>
                <a:gd name="T19" fmla="*/ 18 h 85"/>
                <a:gd name="T20" fmla="*/ 9 w 19"/>
                <a:gd name="T21" fmla="*/ 28 h 85"/>
                <a:gd name="T22" fmla="*/ 12 w 19"/>
                <a:gd name="T23" fmla="*/ 52 h 85"/>
                <a:gd name="T24" fmla="*/ 12 w 19"/>
                <a:gd name="T25" fmla="*/ 75 h 85"/>
                <a:gd name="T26" fmla="*/ 12 w 19"/>
                <a:gd name="T27" fmla="*/ 83 h 85"/>
                <a:gd name="T28" fmla="*/ 19 w 19"/>
                <a:gd name="T29" fmla="*/ 43 h 85"/>
                <a:gd name="T30" fmla="*/ 6 w 19"/>
                <a:gd name="T31" fmla="*/ 1 h 85"/>
                <a:gd name="T32" fmla="*/ 5 w 19"/>
                <a:gd name="T3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85">
                  <a:moveTo>
                    <a:pt x="5" y="0"/>
                  </a:moveTo>
                  <a:cubicBezTo>
                    <a:pt x="4" y="0"/>
                    <a:pt x="3" y="0"/>
                    <a:pt x="3" y="1"/>
                  </a:cubicBezTo>
                  <a:cubicBezTo>
                    <a:pt x="2" y="5"/>
                    <a:pt x="0" y="12"/>
                    <a:pt x="0" y="23"/>
                  </a:cubicBezTo>
                  <a:cubicBezTo>
                    <a:pt x="0" y="37"/>
                    <a:pt x="3" y="57"/>
                    <a:pt x="11" y="85"/>
                  </a:cubicBezTo>
                  <a:cubicBezTo>
                    <a:pt x="11" y="85"/>
                    <a:pt x="12" y="85"/>
                    <a:pt x="12" y="85"/>
                  </a:cubicBezTo>
                  <a:cubicBezTo>
                    <a:pt x="12" y="84"/>
                    <a:pt x="11" y="80"/>
                    <a:pt x="11" y="75"/>
                  </a:cubicBezTo>
                  <a:cubicBezTo>
                    <a:pt x="11" y="69"/>
                    <a:pt x="10" y="61"/>
                    <a:pt x="9" y="52"/>
                  </a:cubicBezTo>
                  <a:cubicBezTo>
                    <a:pt x="9" y="43"/>
                    <a:pt x="8" y="35"/>
                    <a:pt x="8" y="28"/>
                  </a:cubicBezTo>
                  <a:cubicBezTo>
                    <a:pt x="7" y="22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9" y="22"/>
                    <a:pt x="9" y="28"/>
                  </a:cubicBezTo>
                  <a:cubicBezTo>
                    <a:pt x="10" y="34"/>
                    <a:pt x="11" y="43"/>
                    <a:pt x="12" y="52"/>
                  </a:cubicBezTo>
                  <a:cubicBezTo>
                    <a:pt x="12" y="61"/>
                    <a:pt x="12" y="69"/>
                    <a:pt x="12" y="75"/>
                  </a:cubicBezTo>
                  <a:cubicBezTo>
                    <a:pt x="12" y="79"/>
                    <a:pt x="12" y="82"/>
                    <a:pt x="12" y="83"/>
                  </a:cubicBezTo>
                  <a:cubicBezTo>
                    <a:pt x="14" y="78"/>
                    <a:pt x="19" y="62"/>
                    <a:pt x="19" y="43"/>
                  </a:cubicBezTo>
                  <a:cubicBezTo>
                    <a:pt x="19" y="29"/>
                    <a:pt x="16" y="14"/>
                    <a:pt x="6" y="1"/>
                  </a:cubicBezTo>
                  <a:cubicBezTo>
                    <a:pt x="6" y="0"/>
                    <a:pt x="5" y="0"/>
                    <a:pt x="5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45">
              <a:extLst>
                <a:ext uri="{FF2B5EF4-FFF2-40B4-BE49-F238E27FC236}">
                  <a16:creationId xmlns:a16="http://schemas.microsoft.com/office/drawing/2014/main" id="{50E579CF-6046-4B75-9E1A-04029EDD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3554"/>
              <a:ext cx="12" cy="159"/>
            </a:xfrm>
            <a:custGeom>
              <a:avLst/>
              <a:gdLst>
                <a:gd name="T0" fmla="*/ 1 w 5"/>
                <a:gd name="T1" fmla="*/ 0 h 67"/>
                <a:gd name="T2" fmla="*/ 1 w 5"/>
                <a:gd name="T3" fmla="*/ 0 h 67"/>
                <a:gd name="T4" fmla="*/ 1 w 5"/>
                <a:gd name="T5" fmla="*/ 10 h 67"/>
                <a:gd name="T6" fmla="*/ 2 w 5"/>
                <a:gd name="T7" fmla="*/ 34 h 67"/>
                <a:gd name="T8" fmla="*/ 4 w 5"/>
                <a:gd name="T9" fmla="*/ 57 h 67"/>
                <a:gd name="T10" fmla="*/ 5 w 5"/>
                <a:gd name="T11" fmla="*/ 67 h 67"/>
                <a:gd name="T12" fmla="*/ 5 w 5"/>
                <a:gd name="T13" fmla="*/ 65 h 67"/>
                <a:gd name="T14" fmla="*/ 5 w 5"/>
                <a:gd name="T15" fmla="*/ 57 h 67"/>
                <a:gd name="T16" fmla="*/ 5 w 5"/>
                <a:gd name="T17" fmla="*/ 34 h 67"/>
                <a:gd name="T18" fmla="*/ 2 w 5"/>
                <a:gd name="T19" fmla="*/ 10 h 67"/>
                <a:gd name="T20" fmla="*/ 1 w 5"/>
                <a:gd name="T2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6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1" y="17"/>
                    <a:pt x="2" y="25"/>
                    <a:pt x="2" y="34"/>
                  </a:cubicBezTo>
                  <a:cubicBezTo>
                    <a:pt x="3" y="43"/>
                    <a:pt x="4" y="51"/>
                    <a:pt x="4" y="57"/>
                  </a:cubicBezTo>
                  <a:cubicBezTo>
                    <a:pt x="4" y="62"/>
                    <a:pt x="5" y="66"/>
                    <a:pt x="5" y="67"/>
                  </a:cubicBezTo>
                  <a:cubicBezTo>
                    <a:pt x="5" y="66"/>
                    <a:pt x="5" y="66"/>
                    <a:pt x="5" y="65"/>
                  </a:cubicBezTo>
                  <a:cubicBezTo>
                    <a:pt x="5" y="64"/>
                    <a:pt x="5" y="61"/>
                    <a:pt x="5" y="57"/>
                  </a:cubicBezTo>
                  <a:cubicBezTo>
                    <a:pt x="5" y="51"/>
                    <a:pt x="5" y="43"/>
                    <a:pt x="5" y="34"/>
                  </a:cubicBezTo>
                  <a:cubicBezTo>
                    <a:pt x="4" y="25"/>
                    <a:pt x="3" y="16"/>
                    <a:pt x="2" y="10"/>
                  </a:cubicBezTo>
                  <a:cubicBezTo>
                    <a:pt x="2" y="4"/>
                    <a:pt x="1" y="0"/>
                    <a:pt x="1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46">
              <a:extLst>
                <a:ext uri="{FF2B5EF4-FFF2-40B4-BE49-F238E27FC236}">
                  <a16:creationId xmlns:a16="http://schemas.microsoft.com/office/drawing/2014/main" id="{5D8E8333-C385-4A07-86B0-5812C6104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" y="3805"/>
              <a:ext cx="88" cy="202"/>
            </a:xfrm>
            <a:custGeom>
              <a:avLst/>
              <a:gdLst>
                <a:gd name="T0" fmla="*/ 20 w 37"/>
                <a:gd name="T1" fmla="*/ 85 h 85"/>
                <a:gd name="T2" fmla="*/ 7 w 37"/>
                <a:gd name="T3" fmla="*/ 1 h 85"/>
                <a:gd name="T4" fmla="*/ 4 w 37"/>
                <a:gd name="T5" fmla="*/ 2 h 85"/>
                <a:gd name="T6" fmla="*/ 20 w 37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85">
                  <a:moveTo>
                    <a:pt x="20" y="85"/>
                  </a:moveTo>
                  <a:cubicBezTo>
                    <a:pt x="20" y="85"/>
                    <a:pt x="37" y="32"/>
                    <a:pt x="7" y="1"/>
                  </a:cubicBezTo>
                  <a:cubicBezTo>
                    <a:pt x="6" y="0"/>
                    <a:pt x="4" y="0"/>
                    <a:pt x="4" y="2"/>
                  </a:cubicBezTo>
                  <a:cubicBezTo>
                    <a:pt x="2" y="10"/>
                    <a:pt x="0" y="37"/>
                    <a:pt x="20" y="85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47">
              <a:extLst>
                <a:ext uri="{FF2B5EF4-FFF2-40B4-BE49-F238E27FC236}">
                  <a16:creationId xmlns:a16="http://schemas.microsoft.com/office/drawing/2014/main" id="{5A1975B9-5641-4884-909B-AC81F8605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9"/>
            </a:xfrm>
            <a:custGeom>
              <a:avLst/>
              <a:gdLst>
                <a:gd name="T0" fmla="*/ 0 w 10"/>
                <a:gd name="T1" fmla="*/ 0 h 67"/>
                <a:gd name="T2" fmla="*/ 3 w 10"/>
                <a:gd name="T3" fmla="*/ 10 h 67"/>
                <a:gd name="T4" fmla="*/ 7 w 10"/>
                <a:gd name="T5" fmla="*/ 33 h 67"/>
                <a:gd name="T6" fmla="*/ 10 w 10"/>
                <a:gd name="T7" fmla="*/ 57 h 67"/>
                <a:gd name="T8" fmla="*/ 10 w 10"/>
                <a:gd name="T9" fmla="*/ 67 h 67"/>
                <a:gd name="T10" fmla="*/ 8 w 10"/>
                <a:gd name="T11" fmla="*/ 57 h 67"/>
                <a:gd name="T12" fmla="*/ 5 w 10"/>
                <a:gd name="T13" fmla="*/ 34 h 67"/>
                <a:gd name="T14" fmla="*/ 1 w 10"/>
                <a:gd name="T15" fmla="*/ 10 h 67"/>
                <a:gd name="T16" fmla="*/ 0 w 10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7">
                  <a:moveTo>
                    <a:pt x="0" y="0"/>
                  </a:moveTo>
                  <a:cubicBezTo>
                    <a:pt x="1" y="0"/>
                    <a:pt x="1" y="4"/>
                    <a:pt x="3" y="10"/>
                  </a:cubicBezTo>
                  <a:cubicBezTo>
                    <a:pt x="4" y="16"/>
                    <a:pt x="5" y="24"/>
                    <a:pt x="7" y="33"/>
                  </a:cubicBezTo>
                  <a:cubicBezTo>
                    <a:pt x="8" y="42"/>
                    <a:pt x="9" y="51"/>
                    <a:pt x="10" y="57"/>
                  </a:cubicBezTo>
                  <a:cubicBezTo>
                    <a:pt x="10" y="63"/>
                    <a:pt x="10" y="67"/>
                    <a:pt x="10" y="67"/>
                  </a:cubicBezTo>
                  <a:cubicBezTo>
                    <a:pt x="10" y="67"/>
                    <a:pt x="9" y="63"/>
                    <a:pt x="8" y="57"/>
                  </a:cubicBezTo>
                  <a:cubicBezTo>
                    <a:pt x="7" y="50"/>
                    <a:pt x="6" y="42"/>
                    <a:pt x="5" y="34"/>
                  </a:cubicBezTo>
                  <a:cubicBezTo>
                    <a:pt x="4" y="25"/>
                    <a:pt x="2" y="17"/>
                    <a:pt x="1" y="10"/>
                  </a:cubicBezTo>
                  <a:cubicBezTo>
                    <a:pt x="0" y="4"/>
                    <a:pt x="0" y="0"/>
                    <a:pt x="0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48">
              <a:extLst>
                <a:ext uri="{FF2B5EF4-FFF2-40B4-BE49-F238E27FC236}">
                  <a16:creationId xmlns:a16="http://schemas.microsoft.com/office/drawing/2014/main" id="{6518D194-D569-4518-91ED-C8863DD5A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" y="3805"/>
              <a:ext cx="50" cy="202"/>
            </a:xfrm>
            <a:custGeom>
              <a:avLst/>
              <a:gdLst>
                <a:gd name="T0" fmla="*/ 3 w 21"/>
                <a:gd name="T1" fmla="*/ 0 h 85"/>
                <a:gd name="T2" fmla="*/ 1 w 21"/>
                <a:gd name="T3" fmla="*/ 2 h 85"/>
                <a:gd name="T4" fmla="*/ 0 w 21"/>
                <a:gd name="T5" fmla="*/ 13 h 85"/>
                <a:gd name="T6" fmla="*/ 0 w 21"/>
                <a:gd name="T7" fmla="*/ 14 h 85"/>
                <a:gd name="T8" fmla="*/ 17 w 21"/>
                <a:gd name="T9" fmla="*/ 85 h 85"/>
                <a:gd name="T10" fmla="*/ 17 w 21"/>
                <a:gd name="T11" fmla="*/ 84 h 85"/>
                <a:gd name="T12" fmla="*/ 15 w 21"/>
                <a:gd name="T13" fmla="*/ 75 h 85"/>
                <a:gd name="T14" fmla="*/ 12 w 21"/>
                <a:gd name="T15" fmla="*/ 52 h 85"/>
                <a:gd name="T16" fmla="*/ 8 w 21"/>
                <a:gd name="T17" fmla="*/ 28 h 85"/>
                <a:gd name="T18" fmla="*/ 7 w 21"/>
                <a:gd name="T19" fmla="*/ 18 h 85"/>
                <a:gd name="T20" fmla="*/ 7 w 21"/>
                <a:gd name="T21" fmla="*/ 18 h 85"/>
                <a:gd name="T22" fmla="*/ 10 w 21"/>
                <a:gd name="T23" fmla="*/ 28 h 85"/>
                <a:gd name="T24" fmla="*/ 14 w 21"/>
                <a:gd name="T25" fmla="*/ 51 h 85"/>
                <a:gd name="T26" fmla="*/ 17 w 21"/>
                <a:gd name="T27" fmla="*/ 75 h 85"/>
                <a:gd name="T28" fmla="*/ 17 w 21"/>
                <a:gd name="T29" fmla="*/ 83 h 85"/>
                <a:gd name="T30" fmla="*/ 21 w 21"/>
                <a:gd name="T31" fmla="*/ 51 h 85"/>
                <a:gd name="T32" fmla="*/ 4 w 21"/>
                <a:gd name="T33" fmla="*/ 1 h 85"/>
                <a:gd name="T34" fmla="*/ 3 w 21"/>
                <a:gd name="T3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85">
                  <a:moveTo>
                    <a:pt x="3" y="0"/>
                  </a:moveTo>
                  <a:cubicBezTo>
                    <a:pt x="2" y="0"/>
                    <a:pt x="1" y="1"/>
                    <a:pt x="1" y="2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0" y="28"/>
                    <a:pt x="3" y="51"/>
                    <a:pt x="17" y="85"/>
                  </a:cubicBezTo>
                  <a:cubicBezTo>
                    <a:pt x="17" y="85"/>
                    <a:pt x="17" y="85"/>
                    <a:pt x="17" y="84"/>
                  </a:cubicBezTo>
                  <a:cubicBezTo>
                    <a:pt x="16" y="83"/>
                    <a:pt x="16" y="80"/>
                    <a:pt x="15" y="75"/>
                  </a:cubicBezTo>
                  <a:cubicBezTo>
                    <a:pt x="14" y="68"/>
                    <a:pt x="13" y="60"/>
                    <a:pt x="12" y="52"/>
                  </a:cubicBezTo>
                  <a:cubicBezTo>
                    <a:pt x="11" y="43"/>
                    <a:pt x="9" y="35"/>
                    <a:pt x="8" y="28"/>
                  </a:cubicBezTo>
                  <a:cubicBezTo>
                    <a:pt x="7" y="22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22"/>
                    <a:pt x="10" y="28"/>
                  </a:cubicBezTo>
                  <a:cubicBezTo>
                    <a:pt x="11" y="34"/>
                    <a:pt x="12" y="42"/>
                    <a:pt x="14" y="51"/>
                  </a:cubicBezTo>
                  <a:cubicBezTo>
                    <a:pt x="15" y="60"/>
                    <a:pt x="16" y="69"/>
                    <a:pt x="17" y="75"/>
                  </a:cubicBezTo>
                  <a:cubicBezTo>
                    <a:pt x="17" y="78"/>
                    <a:pt x="17" y="81"/>
                    <a:pt x="17" y="83"/>
                  </a:cubicBezTo>
                  <a:cubicBezTo>
                    <a:pt x="18" y="78"/>
                    <a:pt x="21" y="65"/>
                    <a:pt x="21" y="51"/>
                  </a:cubicBezTo>
                  <a:cubicBezTo>
                    <a:pt x="21" y="34"/>
                    <a:pt x="18" y="15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9">
              <a:extLst>
                <a:ext uri="{FF2B5EF4-FFF2-40B4-BE49-F238E27FC236}">
                  <a16:creationId xmlns:a16="http://schemas.microsoft.com/office/drawing/2014/main" id="{E37D9974-39C1-46A2-9667-B18B8F9D4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" y="3848"/>
              <a:ext cx="24" cy="157"/>
            </a:xfrm>
            <a:custGeom>
              <a:avLst/>
              <a:gdLst>
                <a:gd name="T0" fmla="*/ 0 w 10"/>
                <a:gd name="T1" fmla="*/ 0 h 66"/>
                <a:gd name="T2" fmla="*/ 0 w 10"/>
                <a:gd name="T3" fmla="*/ 0 h 66"/>
                <a:gd name="T4" fmla="*/ 1 w 10"/>
                <a:gd name="T5" fmla="*/ 10 h 66"/>
                <a:gd name="T6" fmla="*/ 5 w 10"/>
                <a:gd name="T7" fmla="*/ 34 h 66"/>
                <a:gd name="T8" fmla="*/ 8 w 10"/>
                <a:gd name="T9" fmla="*/ 57 h 66"/>
                <a:gd name="T10" fmla="*/ 10 w 10"/>
                <a:gd name="T11" fmla="*/ 66 h 66"/>
                <a:gd name="T12" fmla="*/ 10 w 10"/>
                <a:gd name="T13" fmla="*/ 65 h 66"/>
                <a:gd name="T14" fmla="*/ 10 w 10"/>
                <a:gd name="T15" fmla="*/ 57 h 66"/>
                <a:gd name="T16" fmla="*/ 7 w 10"/>
                <a:gd name="T17" fmla="*/ 33 h 66"/>
                <a:gd name="T18" fmla="*/ 3 w 10"/>
                <a:gd name="T19" fmla="*/ 10 h 66"/>
                <a:gd name="T20" fmla="*/ 0 w 10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6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4"/>
                    <a:pt x="1" y="10"/>
                  </a:cubicBezTo>
                  <a:cubicBezTo>
                    <a:pt x="2" y="17"/>
                    <a:pt x="4" y="25"/>
                    <a:pt x="5" y="34"/>
                  </a:cubicBezTo>
                  <a:cubicBezTo>
                    <a:pt x="6" y="42"/>
                    <a:pt x="7" y="50"/>
                    <a:pt x="8" y="57"/>
                  </a:cubicBezTo>
                  <a:cubicBezTo>
                    <a:pt x="9" y="62"/>
                    <a:pt x="9" y="65"/>
                    <a:pt x="10" y="66"/>
                  </a:cubicBezTo>
                  <a:cubicBezTo>
                    <a:pt x="10" y="66"/>
                    <a:pt x="10" y="65"/>
                    <a:pt x="10" y="65"/>
                  </a:cubicBezTo>
                  <a:cubicBezTo>
                    <a:pt x="10" y="63"/>
                    <a:pt x="10" y="60"/>
                    <a:pt x="10" y="57"/>
                  </a:cubicBezTo>
                  <a:cubicBezTo>
                    <a:pt x="9" y="51"/>
                    <a:pt x="8" y="42"/>
                    <a:pt x="7" y="33"/>
                  </a:cubicBezTo>
                  <a:cubicBezTo>
                    <a:pt x="5" y="24"/>
                    <a:pt x="4" y="16"/>
                    <a:pt x="3" y="10"/>
                  </a:cubicBezTo>
                  <a:cubicBezTo>
                    <a:pt x="1" y="4"/>
                    <a:pt x="1" y="0"/>
                    <a:pt x="0" y="0"/>
                  </a:cubicBezTo>
                </a:path>
              </a:pathLst>
            </a:custGeom>
            <a:solidFill>
              <a:srgbClr val="1B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0">
              <a:extLst>
                <a:ext uri="{FF2B5EF4-FFF2-40B4-BE49-F238E27FC236}">
                  <a16:creationId xmlns:a16="http://schemas.microsoft.com/office/drawing/2014/main" id="{27B6C2CA-E7E1-4387-A266-57DA1AB8F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3"/>
              <a:ext cx="107" cy="182"/>
            </a:xfrm>
            <a:custGeom>
              <a:avLst/>
              <a:gdLst>
                <a:gd name="T0" fmla="*/ 0 w 45"/>
                <a:gd name="T1" fmla="*/ 77 h 77"/>
                <a:gd name="T2" fmla="*/ 40 w 45"/>
                <a:gd name="T3" fmla="*/ 2 h 77"/>
                <a:gd name="T4" fmla="*/ 37 w 45"/>
                <a:gd name="T5" fmla="*/ 1 h 77"/>
                <a:gd name="T6" fmla="*/ 0 w 45"/>
                <a:gd name="T7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77">
                  <a:moveTo>
                    <a:pt x="0" y="77"/>
                  </a:moveTo>
                  <a:cubicBezTo>
                    <a:pt x="0" y="77"/>
                    <a:pt x="45" y="45"/>
                    <a:pt x="40" y="2"/>
                  </a:cubicBezTo>
                  <a:cubicBezTo>
                    <a:pt x="40" y="1"/>
                    <a:pt x="38" y="0"/>
                    <a:pt x="37" y="1"/>
                  </a:cubicBezTo>
                  <a:cubicBezTo>
                    <a:pt x="31" y="7"/>
                    <a:pt x="13" y="27"/>
                    <a:pt x="0" y="77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51">
              <a:extLst>
                <a:ext uri="{FF2B5EF4-FFF2-40B4-BE49-F238E27FC236}">
                  <a16:creationId xmlns:a16="http://schemas.microsoft.com/office/drawing/2014/main" id="{0C6DE14D-2CF1-4990-A369-A67A8ED35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385"/>
              <a:ext cx="98" cy="180"/>
            </a:xfrm>
            <a:custGeom>
              <a:avLst/>
              <a:gdLst>
                <a:gd name="T0" fmla="*/ 39 w 41"/>
                <a:gd name="T1" fmla="*/ 0 h 76"/>
                <a:gd name="T2" fmla="*/ 37 w 41"/>
                <a:gd name="T3" fmla="*/ 0 h 76"/>
                <a:gd name="T4" fmla="*/ 0 w 41"/>
                <a:gd name="T5" fmla="*/ 76 h 76"/>
                <a:gd name="T6" fmla="*/ 41 w 41"/>
                <a:gd name="T7" fmla="*/ 7 h 76"/>
                <a:gd name="T8" fmla="*/ 40 w 41"/>
                <a:gd name="T9" fmla="*/ 1 h 76"/>
                <a:gd name="T10" fmla="*/ 39 w 41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76">
                  <a:moveTo>
                    <a:pt x="39" y="0"/>
                  </a:moveTo>
                  <a:cubicBezTo>
                    <a:pt x="38" y="0"/>
                    <a:pt x="38" y="0"/>
                    <a:pt x="37" y="0"/>
                  </a:cubicBezTo>
                  <a:cubicBezTo>
                    <a:pt x="31" y="6"/>
                    <a:pt x="13" y="26"/>
                    <a:pt x="0" y="76"/>
                  </a:cubicBezTo>
                  <a:cubicBezTo>
                    <a:pt x="0" y="76"/>
                    <a:pt x="41" y="47"/>
                    <a:pt x="41" y="7"/>
                  </a:cubicBezTo>
                  <a:cubicBezTo>
                    <a:pt x="41" y="5"/>
                    <a:pt x="41" y="3"/>
                    <a:pt x="40" y="1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52">
              <a:extLst>
                <a:ext uri="{FF2B5EF4-FFF2-40B4-BE49-F238E27FC236}">
                  <a16:creationId xmlns:a16="http://schemas.microsoft.com/office/drawing/2014/main" id="{ECE76716-B15F-44F4-A602-C16B4D37A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" y="3425"/>
              <a:ext cx="76" cy="140"/>
            </a:xfrm>
            <a:custGeom>
              <a:avLst/>
              <a:gdLst>
                <a:gd name="T0" fmla="*/ 32 w 32"/>
                <a:gd name="T1" fmla="*/ 0 h 59"/>
                <a:gd name="T2" fmla="*/ 28 w 32"/>
                <a:gd name="T3" fmla="*/ 9 h 59"/>
                <a:gd name="T4" fmla="*/ 18 w 32"/>
                <a:gd name="T5" fmla="*/ 30 h 59"/>
                <a:gd name="T6" fmla="*/ 6 w 32"/>
                <a:gd name="T7" fmla="*/ 51 h 59"/>
                <a:gd name="T8" fmla="*/ 0 w 32"/>
                <a:gd name="T9" fmla="*/ 59 h 59"/>
                <a:gd name="T10" fmla="*/ 5 w 32"/>
                <a:gd name="T11" fmla="*/ 50 h 59"/>
                <a:gd name="T12" fmla="*/ 16 w 32"/>
                <a:gd name="T13" fmla="*/ 29 h 59"/>
                <a:gd name="T14" fmla="*/ 27 w 32"/>
                <a:gd name="T15" fmla="*/ 9 h 59"/>
                <a:gd name="T16" fmla="*/ 32 w 32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59">
                  <a:moveTo>
                    <a:pt x="32" y="0"/>
                  </a:moveTo>
                  <a:cubicBezTo>
                    <a:pt x="32" y="0"/>
                    <a:pt x="31" y="4"/>
                    <a:pt x="28" y="9"/>
                  </a:cubicBezTo>
                  <a:cubicBezTo>
                    <a:pt x="26" y="15"/>
                    <a:pt x="22" y="22"/>
                    <a:pt x="18" y="30"/>
                  </a:cubicBezTo>
                  <a:cubicBezTo>
                    <a:pt x="13" y="39"/>
                    <a:pt x="9" y="46"/>
                    <a:pt x="6" y="51"/>
                  </a:cubicBezTo>
                  <a:cubicBezTo>
                    <a:pt x="3" y="56"/>
                    <a:pt x="0" y="59"/>
                    <a:pt x="0" y="59"/>
                  </a:cubicBezTo>
                  <a:cubicBezTo>
                    <a:pt x="0" y="59"/>
                    <a:pt x="2" y="55"/>
                    <a:pt x="5" y="50"/>
                  </a:cubicBezTo>
                  <a:cubicBezTo>
                    <a:pt x="8" y="44"/>
                    <a:pt x="12" y="37"/>
                    <a:pt x="16" y="29"/>
                  </a:cubicBezTo>
                  <a:cubicBezTo>
                    <a:pt x="20" y="22"/>
                    <a:pt x="24" y="15"/>
                    <a:pt x="27" y="9"/>
                  </a:cubicBezTo>
                  <a:cubicBezTo>
                    <a:pt x="30" y="3"/>
                    <a:pt x="32" y="0"/>
                    <a:pt x="32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53">
              <a:extLst>
                <a:ext uri="{FF2B5EF4-FFF2-40B4-BE49-F238E27FC236}">
                  <a16:creationId xmlns:a16="http://schemas.microsoft.com/office/drawing/2014/main" id="{46EB33BD-424E-4B60-A6BB-56CC11C15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6" cy="124"/>
            </a:xfrm>
            <a:custGeom>
              <a:avLst/>
              <a:gdLst>
                <a:gd name="T0" fmla="*/ 0 w 70"/>
                <a:gd name="T1" fmla="*/ 52 h 52"/>
                <a:gd name="T2" fmla="*/ 69 w 70"/>
                <a:gd name="T3" fmla="*/ 3 h 52"/>
                <a:gd name="T4" fmla="*/ 67 w 70"/>
                <a:gd name="T5" fmla="*/ 0 h 52"/>
                <a:gd name="T6" fmla="*/ 0 w 70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52">
                  <a:moveTo>
                    <a:pt x="0" y="52"/>
                  </a:moveTo>
                  <a:cubicBezTo>
                    <a:pt x="0" y="52"/>
                    <a:pt x="55" y="43"/>
                    <a:pt x="69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59" y="3"/>
                    <a:pt x="34" y="13"/>
                    <a:pt x="0" y="52"/>
                  </a:cubicBezTo>
                </a:path>
              </a:pathLst>
            </a:custGeom>
            <a:solidFill>
              <a:srgbClr val="E850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54">
              <a:extLst>
                <a:ext uri="{FF2B5EF4-FFF2-40B4-BE49-F238E27FC236}">
                  <a16:creationId xmlns:a16="http://schemas.microsoft.com/office/drawing/2014/main" id="{0378610D-6E98-4793-99A2-00A39461F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60"/>
              <a:ext cx="164" cy="124"/>
            </a:xfrm>
            <a:custGeom>
              <a:avLst/>
              <a:gdLst>
                <a:gd name="T0" fmla="*/ 68 w 69"/>
                <a:gd name="T1" fmla="*/ 0 h 52"/>
                <a:gd name="T2" fmla="*/ 67 w 69"/>
                <a:gd name="T3" fmla="*/ 0 h 52"/>
                <a:gd name="T4" fmla="*/ 6 w 69"/>
                <a:gd name="T5" fmla="*/ 44 h 52"/>
                <a:gd name="T6" fmla="*/ 0 w 69"/>
                <a:gd name="T7" fmla="*/ 51 h 52"/>
                <a:gd name="T8" fmla="*/ 0 w 69"/>
                <a:gd name="T9" fmla="*/ 52 h 52"/>
                <a:gd name="T10" fmla="*/ 69 w 69"/>
                <a:gd name="T11" fmla="*/ 3 h 52"/>
                <a:gd name="T12" fmla="*/ 69 w 69"/>
                <a:gd name="T13" fmla="*/ 2 h 52"/>
                <a:gd name="T14" fmla="*/ 68 w 69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52">
                  <a:moveTo>
                    <a:pt x="68" y="0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59" y="2"/>
                    <a:pt x="37" y="11"/>
                    <a:pt x="6" y="44"/>
                  </a:cubicBezTo>
                  <a:cubicBezTo>
                    <a:pt x="4" y="46"/>
                    <a:pt x="2" y="49"/>
                    <a:pt x="0" y="51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55" y="43"/>
                    <a:pt x="69" y="3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0"/>
                    <a:pt x="68" y="0"/>
                  </a:cubicBezTo>
                </a:path>
              </a:pathLst>
            </a:custGeom>
            <a:solidFill>
              <a:srgbClr val="A2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355">
              <a:extLst>
                <a:ext uri="{FF2B5EF4-FFF2-40B4-BE49-F238E27FC236}">
                  <a16:creationId xmlns:a16="http://schemas.microsoft.com/office/drawing/2014/main" id="{EBCA3AB8-45A5-4D79-ADF4-D31BA599A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" y="3791"/>
              <a:ext cx="131" cy="93"/>
            </a:xfrm>
            <a:custGeom>
              <a:avLst/>
              <a:gdLst>
                <a:gd name="T0" fmla="*/ 55 w 55"/>
                <a:gd name="T1" fmla="*/ 0 h 39"/>
                <a:gd name="T2" fmla="*/ 48 w 55"/>
                <a:gd name="T3" fmla="*/ 7 h 39"/>
                <a:gd name="T4" fmla="*/ 29 w 55"/>
                <a:gd name="T5" fmla="*/ 21 h 39"/>
                <a:gd name="T6" fmla="*/ 9 w 55"/>
                <a:gd name="T7" fmla="*/ 34 h 39"/>
                <a:gd name="T8" fmla="*/ 0 w 55"/>
                <a:gd name="T9" fmla="*/ 39 h 39"/>
                <a:gd name="T10" fmla="*/ 8 w 55"/>
                <a:gd name="T11" fmla="*/ 33 h 39"/>
                <a:gd name="T12" fmla="*/ 27 w 55"/>
                <a:gd name="T13" fmla="*/ 19 h 39"/>
                <a:gd name="T14" fmla="*/ 47 w 55"/>
                <a:gd name="T15" fmla="*/ 6 h 39"/>
                <a:gd name="T16" fmla="*/ 55 w 55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39">
                  <a:moveTo>
                    <a:pt x="55" y="0"/>
                  </a:moveTo>
                  <a:cubicBezTo>
                    <a:pt x="55" y="1"/>
                    <a:pt x="52" y="3"/>
                    <a:pt x="48" y="7"/>
                  </a:cubicBezTo>
                  <a:cubicBezTo>
                    <a:pt x="43" y="11"/>
                    <a:pt x="36" y="16"/>
                    <a:pt x="29" y="21"/>
                  </a:cubicBezTo>
                  <a:cubicBezTo>
                    <a:pt x="21" y="26"/>
                    <a:pt x="14" y="31"/>
                    <a:pt x="9" y="34"/>
                  </a:cubicBezTo>
                  <a:cubicBezTo>
                    <a:pt x="4" y="37"/>
                    <a:pt x="0" y="39"/>
                    <a:pt x="0" y="39"/>
                  </a:cubicBezTo>
                  <a:cubicBezTo>
                    <a:pt x="0" y="39"/>
                    <a:pt x="3" y="36"/>
                    <a:pt x="8" y="33"/>
                  </a:cubicBezTo>
                  <a:cubicBezTo>
                    <a:pt x="14" y="29"/>
                    <a:pt x="20" y="24"/>
                    <a:pt x="27" y="19"/>
                  </a:cubicBezTo>
                  <a:cubicBezTo>
                    <a:pt x="35" y="14"/>
                    <a:pt x="41" y="10"/>
                    <a:pt x="47" y="6"/>
                  </a:cubicBezTo>
                  <a:cubicBezTo>
                    <a:pt x="52" y="2"/>
                    <a:pt x="55" y="0"/>
                    <a:pt x="5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356">
              <a:extLst>
                <a:ext uri="{FF2B5EF4-FFF2-40B4-BE49-F238E27FC236}">
                  <a16:creationId xmlns:a16="http://schemas.microsoft.com/office/drawing/2014/main" id="{757C5372-0F53-4797-8EC2-519B852B6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" y="4121"/>
              <a:ext cx="235" cy="257"/>
            </a:xfrm>
            <a:custGeom>
              <a:avLst/>
              <a:gdLst>
                <a:gd name="T0" fmla="*/ 38 w 235"/>
                <a:gd name="T1" fmla="*/ 0 h 257"/>
                <a:gd name="T2" fmla="*/ 0 w 235"/>
                <a:gd name="T3" fmla="*/ 257 h 257"/>
                <a:gd name="T4" fmla="*/ 235 w 235"/>
                <a:gd name="T5" fmla="*/ 257 h 257"/>
                <a:gd name="T6" fmla="*/ 204 w 235"/>
                <a:gd name="T7" fmla="*/ 0 h 257"/>
                <a:gd name="T8" fmla="*/ 38 w 235"/>
                <a:gd name="T9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5" h="257">
                  <a:moveTo>
                    <a:pt x="38" y="0"/>
                  </a:moveTo>
                  <a:lnTo>
                    <a:pt x="0" y="257"/>
                  </a:lnTo>
                  <a:lnTo>
                    <a:pt x="235" y="257"/>
                  </a:lnTo>
                  <a:lnTo>
                    <a:pt x="204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357">
              <a:extLst>
                <a:ext uri="{FF2B5EF4-FFF2-40B4-BE49-F238E27FC236}">
                  <a16:creationId xmlns:a16="http://schemas.microsoft.com/office/drawing/2014/main" id="{67E1A825-073B-4D02-A154-8C4A80580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4200"/>
              <a:ext cx="189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358">
              <a:extLst>
                <a:ext uri="{FF2B5EF4-FFF2-40B4-BE49-F238E27FC236}">
                  <a16:creationId xmlns:a16="http://schemas.microsoft.com/office/drawing/2014/main" id="{18C3A18E-267A-42E8-A6AD-89E1A5C34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" y="4219"/>
              <a:ext cx="197" cy="4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8FDDE4C5-2172-4E24-B99A-74D2235928E8}"/>
              </a:ext>
            </a:extLst>
          </p:cNvPr>
          <p:cNvSpPr/>
          <p:nvPr/>
        </p:nvSpPr>
        <p:spPr>
          <a:xfrm rot="2576334">
            <a:off x="-209294" y="-597797"/>
            <a:ext cx="998261" cy="1928857"/>
          </a:xfrm>
          <a:custGeom>
            <a:avLst/>
            <a:gdLst>
              <a:gd name="connsiteX0" fmla="*/ 0 w 998261"/>
              <a:gd name="connsiteY0" fmla="*/ 928070 h 1928857"/>
              <a:gd name="connsiteX1" fmla="*/ 997363 w 998261"/>
              <a:gd name="connsiteY1" fmla="*/ 0 h 1928857"/>
              <a:gd name="connsiteX2" fmla="*/ 998261 w 998261"/>
              <a:gd name="connsiteY2" fmla="*/ 0 h 1928857"/>
              <a:gd name="connsiteX3" fmla="*/ 998261 w 998261"/>
              <a:gd name="connsiteY3" fmla="*/ 1928857 h 1928857"/>
              <a:gd name="connsiteX4" fmla="*/ 931255 w 998261"/>
              <a:gd name="connsiteY4" fmla="*/ 1928857 h 1928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261" h="1928857">
                <a:moveTo>
                  <a:pt x="0" y="928070"/>
                </a:moveTo>
                <a:lnTo>
                  <a:pt x="997363" y="0"/>
                </a:lnTo>
                <a:lnTo>
                  <a:pt x="998261" y="0"/>
                </a:lnTo>
                <a:lnTo>
                  <a:pt x="998261" y="1928857"/>
                </a:lnTo>
                <a:lnTo>
                  <a:pt x="931255" y="19288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D0A386DE-939D-446A-8A6C-86A065F9953A}"/>
              </a:ext>
            </a:extLst>
          </p:cNvPr>
          <p:cNvSpPr txBox="1"/>
          <p:nvPr/>
        </p:nvSpPr>
        <p:spPr>
          <a:xfrm>
            <a:off x="911424" y="-1712"/>
            <a:ext cx="31691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KEMENTERIAN DALAM NEGERI</a:t>
            </a:r>
          </a:p>
          <a:p>
            <a:r>
              <a:rPr lang="en-US" sz="1600" b="1" dirty="0"/>
              <a:t>REPUBLIK INDONESIA</a:t>
            </a:r>
            <a:endParaRPr lang="en-ID" sz="1600" b="1" dirty="0"/>
          </a:p>
        </p:txBody>
      </p:sp>
      <p:pic>
        <p:nvPicPr>
          <p:cNvPr id="370" name="Picture 369">
            <a:extLst>
              <a:ext uri="{FF2B5EF4-FFF2-40B4-BE49-F238E27FC236}">
                <a16:creationId xmlns:a16="http://schemas.microsoft.com/office/drawing/2014/main" id="{EDF082FB-7CC8-4BE2-BD44-560BC2E0497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" y="30117"/>
            <a:ext cx="914320" cy="1177801"/>
          </a:xfrm>
          <a:prstGeom prst="rect">
            <a:avLst/>
          </a:prstGeom>
        </p:spPr>
      </p:pic>
      <p:sp>
        <p:nvSpPr>
          <p:cNvPr id="371" name="TextBox 370">
            <a:extLst>
              <a:ext uri="{FF2B5EF4-FFF2-40B4-BE49-F238E27FC236}">
                <a16:creationId xmlns:a16="http://schemas.microsoft.com/office/drawing/2014/main" id="{302514F3-086A-4DA9-B475-F6CF2C67AE84}"/>
              </a:ext>
            </a:extLst>
          </p:cNvPr>
          <p:cNvSpPr txBox="1"/>
          <p:nvPr/>
        </p:nvSpPr>
        <p:spPr>
          <a:xfrm>
            <a:off x="-26844" y="2738838"/>
            <a:ext cx="528998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800" b="1" dirty="0">
                <a:latin typeface="Century Gothic" panose="020B0502020202020204" pitchFamily="34" charset="0"/>
              </a:rPr>
              <a:t>TATA CARA PELIMPAHAN </a:t>
            </a:r>
          </a:p>
          <a:p>
            <a:pPr algn="r"/>
            <a:r>
              <a:rPr lang="en-US" sz="2800" b="1" dirty="0">
                <a:latin typeface="Century Gothic" panose="020B0502020202020204" pitchFamily="34" charset="0"/>
              </a:rPr>
              <a:t>SEBAGIAN KEWENANGAN BUPATI/WALI KOTA KEPADA CAMAT</a:t>
            </a:r>
          </a:p>
        </p:txBody>
      </p:sp>
    </p:spTree>
    <p:extLst>
      <p:ext uri="{BB962C8B-B14F-4D97-AF65-F5344CB8AC3E}">
        <p14:creationId xmlns:p14="http://schemas.microsoft.com/office/powerpoint/2010/main" val="17150973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525425"/>
            <a:ext cx="11025789" cy="483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6672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1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298" y="570015"/>
            <a:ext cx="10959289" cy="399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0359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2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474" y="581892"/>
            <a:ext cx="11134062" cy="5427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630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3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113" y="581891"/>
            <a:ext cx="11210128" cy="534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064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577" y="629393"/>
            <a:ext cx="11409738" cy="5058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637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780" y="318130"/>
            <a:ext cx="10390909" cy="6220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616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16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71" y="439386"/>
            <a:ext cx="11514067" cy="434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0412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7C7E3-C3C3-4C68-9A92-E54AA3E48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685" y="247858"/>
            <a:ext cx="11023600" cy="777875"/>
          </a:xfrm>
        </p:spPr>
        <p:txBody>
          <a:bodyPr>
            <a:noAutofit/>
          </a:bodyPr>
          <a:lstStyle/>
          <a:p>
            <a:pPr algn="ctr"/>
            <a:r>
              <a:rPr lang="en-US" sz="3600" dirty="0"/>
              <a:t>PERUMUSAN DAN PENETAPAN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C782788-840F-4EDD-99DC-EADAF7CC9EC1}"/>
              </a:ext>
            </a:extLst>
          </p:cNvPr>
          <p:cNvGrpSpPr/>
          <p:nvPr/>
        </p:nvGrpSpPr>
        <p:grpSpPr>
          <a:xfrm rot="5400000">
            <a:off x="-2150622" y="-1750"/>
            <a:ext cx="1375594" cy="316398"/>
            <a:chOff x="1640548" y="1151661"/>
            <a:chExt cx="1951806" cy="448932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4E744C0-326D-45B6-978A-611F93EA0C29}"/>
                </a:ext>
              </a:extLst>
            </p:cNvPr>
            <p:cNvSpPr/>
            <p:nvPr/>
          </p:nvSpPr>
          <p:spPr>
            <a:xfrm>
              <a:off x="1640548" y="1151661"/>
              <a:ext cx="448932" cy="448932"/>
            </a:xfrm>
            <a:prstGeom prst="ellipse">
              <a:avLst/>
            </a:prstGeom>
            <a:solidFill>
              <a:srgbClr val="26AA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CCD39B2-B4A9-47A4-AFF6-141CD51CC2FF}"/>
                </a:ext>
              </a:extLst>
            </p:cNvPr>
            <p:cNvSpPr/>
            <p:nvPr/>
          </p:nvSpPr>
          <p:spPr>
            <a:xfrm>
              <a:off x="2391985" y="1151661"/>
              <a:ext cx="448932" cy="448932"/>
            </a:xfrm>
            <a:prstGeom prst="ellipse">
              <a:avLst/>
            </a:prstGeom>
            <a:solidFill>
              <a:srgbClr val="EB5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BDE99AEC-8628-45CB-9FBC-963DD69FC0E3}"/>
                </a:ext>
              </a:extLst>
            </p:cNvPr>
            <p:cNvSpPr/>
            <p:nvPr/>
          </p:nvSpPr>
          <p:spPr>
            <a:xfrm>
              <a:off x="3143422" y="1151661"/>
              <a:ext cx="448932" cy="448932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936B-E1B4-41E6-8AC6-C9BE15661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53A8B8-0320-463C-9CFC-F3F813B668D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A87A35B-E2AC-46BC-918D-C30B84956142}"/>
              </a:ext>
            </a:extLst>
          </p:cNvPr>
          <p:cNvGrpSpPr/>
          <p:nvPr/>
        </p:nvGrpSpPr>
        <p:grpSpPr>
          <a:xfrm>
            <a:off x="8799784" y="4597340"/>
            <a:ext cx="2955501" cy="2175384"/>
            <a:chOff x="4723234" y="4235345"/>
            <a:chExt cx="2955501" cy="2175384"/>
          </a:xfrm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3E505887-1BCC-4C1F-BF52-5E9D0F59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4754560" y="4429529"/>
              <a:ext cx="2924175" cy="1981200"/>
            </a:xfrm>
            <a:prstGeom prst="rect">
              <a:avLst/>
            </a:prstGeom>
          </p:spPr>
        </p:pic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DC78EB0-F771-433A-ACC4-6FA51933E5D4}"/>
                </a:ext>
              </a:extLst>
            </p:cNvPr>
            <p:cNvGrpSpPr/>
            <p:nvPr/>
          </p:nvGrpSpPr>
          <p:grpSpPr>
            <a:xfrm>
              <a:off x="4723234" y="4235345"/>
              <a:ext cx="2579624" cy="882169"/>
              <a:chOff x="8456469" y="4273527"/>
              <a:chExt cx="2579624" cy="882169"/>
            </a:xfrm>
            <a:solidFill>
              <a:srgbClr val="4FE59B"/>
            </a:solidFill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A8627A5C-3E65-4843-A60D-23C7DDF8C870}"/>
                  </a:ext>
                </a:extLst>
              </p:cNvPr>
              <p:cNvSpPr/>
              <p:nvPr/>
            </p:nvSpPr>
            <p:spPr>
              <a:xfrm>
                <a:off x="10553699" y="4273527"/>
                <a:ext cx="135745" cy="138902"/>
              </a:xfrm>
              <a:custGeom>
                <a:avLst/>
                <a:gdLst>
                  <a:gd name="connsiteX0" fmla="*/ 135746 w 135745"/>
                  <a:gd name="connsiteY0" fmla="*/ 69451 h 138902"/>
                  <a:gd name="connsiteX1" fmla="*/ 91550 w 135745"/>
                  <a:gd name="connsiteY1" fmla="*/ 55245 h 138902"/>
                  <a:gd name="connsiteX2" fmla="*/ 82079 w 135745"/>
                  <a:gd name="connsiteY2" fmla="*/ 44196 h 138902"/>
                  <a:gd name="connsiteX3" fmla="*/ 67873 w 135745"/>
                  <a:gd name="connsiteY3" fmla="*/ 0 h 138902"/>
                  <a:gd name="connsiteX4" fmla="*/ 53667 w 135745"/>
                  <a:gd name="connsiteY4" fmla="*/ 44196 h 138902"/>
                  <a:gd name="connsiteX5" fmla="*/ 44197 w 135745"/>
                  <a:gd name="connsiteY5" fmla="*/ 55245 h 138902"/>
                  <a:gd name="connsiteX6" fmla="*/ 0 w 135745"/>
                  <a:gd name="connsiteY6" fmla="*/ 69451 h 138902"/>
                  <a:gd name="connsiteX7" fmla="*/ 44197 w 135745"/>
                  <a:gd name="connsiteY7" fmla="*/ 83657 h 138902"/>
                  <a:gd name="connsiteX8" fmla="*/ 53667 w 135745"/>
                  <a:gd name="connsiteY8" fmla="*/ 94706 h 138902"/>
                  <a:gd name="connsiteX9" fmla="*/ 67873 w 135745"/>
                  <a:gd name="connsiteY9" fmla="*/ 138903 h 138902"/>
                  <a:gd name="connsiteX10" fmla="*/ 82079 w 135745"/>
                  <a:gd name="connsiteY10" fmla="*/ 94706 h 138902"/>
                  <a:gd name="connsiteX11" fmla="*/ 91550 w 135745"/>
                  <a:gd name="connsiteY11" fmla="*/ 83657 h 138902"/>
                  <a:gd name="connsiteX12" fmla="*/ 135746 w 135745"/>
                  <a:gd name="connsiteY12" fmla="*/ 69451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EAA5FDE-33A2-4F50-B4B2-0B110D8D2622}"/>
                  </a:ext>
                </a:extLst>
              </p:cNvPr>
              <p:cNvSpPr/>
              <p:nvPr/>
            </p:nvSpPr>
            <p:spPr>
              <a:xfrm>
                <a:off x="8456469" y="4774606"/>
                <a:ext cx="135745" cy="138902"/>
              </a:xfrm>
              <a:custGeom>
                <a:avLst/>
                <a:gdLst>
                  <a:gd name="connsiteX0" fmla="*/ 82079 w 135745"/>
                  <a:gd name="connsiteY0" fmla="*/ 44196 h 138902"/>
                  <a:gd name="connsiteX1" fmla="*/ 67873 w 135745"/>
                  <a:gd name="connsiteY1" fmla="*/ 0 h 138902"/>
                  <a:gd name="connsiteX2" fmla="*/ 53667 w 135745"/>
                  <a:gd name="connsiteY2" fmla="*/ 44196 h 138902"/>
                  <a:gd name="connsiteX3" fmla="*/ 44196 w 135745"/>
                  <a:gd name="connsiteY3" fmla="*/ 55245 h 138902"/>
                  <a:gd name="connsiteX4" fmla="*/ 0 w 135745"/>
                  <a:gd name="connsiteY4" fmla="*/ 69451 h 138902"/>
                  <a:gd name="connsiteX5" fmla="*/ 44196 w 135745"/>
                  <a:gd name="connsiteY5" fmla="*/ 83657 h 138902"/>
                  <a:gd name="connsiteX6" fmla="*/ 53667 w 135745"/>
                  <a:gd name="connsiteY6" fmla="*/ 94706 h 138902"/>
                  <a:gd name="connsiteX7" fmla="*/ 67873 w 135745"/>
                  <a:gd name="connsiteY7" fmla="*/ 138903 h 138902"/>
                  <a:gd name="connsiteX8" fmla="*/ 82079 w 135745"/>
                  <a:gd name="connsiteY8" fmla="*/ 94706 h 138902"/>
                  <a:gd name="connsiteX9" fmla="*/ 91550 w 135745"/>
                  <a:gd name="connsiteY9" fmla="*/ 83657 h 138902"/>
                  <a:gd name="connsiteX10" fmla="*/ 135746 w 135745"/>
                  <a:gd name="connsiteY10" fmla="*/ 69451 h 138902"/>
                  <a:gd name="connsiteX11" fmla="*/ 91550 w 135745"/>
                  <a:gd name="connsiteY11" fmla="*/ 55245 h 138902"/>
                  <a:gd name="connsiteX12" fmla="*/ 82079 w 135745"/>
                  <a:gd name="connsiteY12" fmla="*/ 44196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DC389E6-554E-4997-A6DD-C4121733E39A}"/>
                  </a:ext>
                </a:extLst>
              </p:cNvPr>
              <p:cNvSpPr/>
              <p:nvPr/>
            </p:nvSpPr>
            <p:spPr>
              <a:xfrm>
                <a:off x="10800065" y="4486896"/>
                <a:ext cx="236028" cy="236028"/>
              </a:xfrm>
              <a:custGeom>
                <a:avLst/>
                <a:gdLst>
                  <a:gd name="connsiteX0" fmla="*/ 224138 w 331472"/>
                  <a:gd name="connsiteY0" fmla="*/ 132589 h 331472"/>
                  <a:gd name="connsiteX1" fmla="*/ 200462 w 331472"/>
                  <a:gd name="connsiteY1" fmla="*/ 105755 h 331472"/>
                  <a:gd name="connsiteX2" fmla="*/ 165736 w 331472"/>
                  <a:gd name="connsiteY2" fmla="*/ 0 h 331472"/>
                  <a:gd name="connsiteX3" fmla="*/ 131010 w 331472"/>
                  <a:gd name="connsiteY3" fmla="*/ 105755 h 331472"/>
                  <a:gd name="connsiteX4" fmla="*/ 107334 w 331472"/>
                  <a:gd name="connsiteY4" fmla="*/ 132589 h 331472"/>
                  <a:gd name="connsiteX5" fmla="*/ 0 w 331472"/>
                  <a:gd name="connsiteY5" fmla="*/ 165736 h 331472"/>
                  <a:gd name="connsiteX6" fmla="*/ 107334 w 331472"/>
                  <a:gd name="connsiteY6" fmla="*/ 198883 h 331472"/>
                  <a:gd name="connsiteX7" fmla="*/ 131010 w 331472"/>
                  <a:gd name="connsiteY7" fmla="*/ 225717 h 331472"/>
                  <a:gd name="connsiteX8" fmla="*/ 165736 w 331472"/>
                  <a:gd name="connsiteY8" fmla="*/ 331472 h 331472"/>
                  <a:gd name="connsiteX9" fmla="*/ 200462 w 331472"/>
                  <a:gd name="connsiteY9" fmla="*/ 225717 h 331472"/>
                  <a:gd name="connsiteX10" fmla="*/ 224138 w 331472"/>
                  <a:gd name="connsiteY10" fmla="*/ 198883 h 331472"/>
                  <a:gd name="connsiteX11" fmla="*/ 331472 w 331472"/>
                  <a:gd name="connsiteY11" fmla="*/ 165736 h 331472"/>
                  <a:gd name="connsiteX12" fmla="*/ 224138 w 331472"/>
                  <a:gd name="connsiteY12" fmla="*/ 132589 h 33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2C1895E-7A2E-4296-BA90-2F752DECCBEA}"/>
                  </a:ext>
                </a:extLst>
              </p:cNvPr>
              <p:cNvSpPr/>
              <p:nvPr/>
            </p:nvSpPr>
            <p:spPr>
              <a:xfrm>
                <a:off x="9261827" y="4342978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DF6CD4E-CDBA-4205-AF47-A0468D3A1DC1}"/>
                  </a:ext>
                </a:extLst>
              </p:cNvPr>
              <p:cNvSpPr/>
              <p:nvPr/>
            </p:nvSpPr>
            <p:spPr>
              <a:xfrm>
                <a:off x="9306023" y="5064147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FCE00FF0-35CF-4B0C-B583-4193BC706D59}"/>
              </a:ext>
            </a:extLst>
          </p:cNvPr>
          <p:cNvSpPr txBox="1"/>
          <p:nvPr/>
        </p:nvSpPr>
        <p:spPr>
          <a:xfrm>
            <a:off x="2955501" y="842649"/>
            <a:ext cx="65491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umus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lakuk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rdasark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eta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rus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erintah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suai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ng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rakteristik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camat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n/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tau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butuh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syarakat</a:t>
            </a:r>
            <a:endParaRPr lang="en-ID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4FBD82-1DAC-43C8-BF75-CB614C957B69}"/>
              </a:ext>
            </a:extLst>
          </p:cNvPr>
          <p:cNvSpPr txBox="1"/>
          <p:nvPr/>
        </p:nvSpPr>
        <p:spPr>
          <a:xfrm>
            <a:off x="441505" y="4234302"/>
            <a:ext cx="6843252" cy="584775"/>
          </a:xfrm>
          <a:prstGeom prst="rect">
            <a:avLst/>
          </a:prstGeom>
          <a:solidFill>
            <a:srgbClr val="83E5C9"/>
          </a:solidFill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ordinasi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laksanak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uk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nentukan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is</a:t>
            </a:r>
            <a:r>
              <a:rPr lang="en-US" sz="1600" dirty="0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n </a:t>
            </a:r>
            <a:r>
              <a:rPr lang="en-US" sz="1600" dirty="0" err="1">
                <a:solidFill>
                  <a:srgbClr val="000000"/>
                </a:solidFill>
                <a:effectLst/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ara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wenangan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upati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ali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ta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yang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limpahkan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pada</a:t>
            </a:r>
            <a:r>
              <a:rPr lang="en-US" sz="1600" dirty="0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Bookman Old Style" panose="0205060405050502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mat</a:t>
            </a:r>
            <a:endParaRPr lang="en-ID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43E068-F216-45F2-812C-C0E99A1B2580}"/>
              </a:ext>
            </a:extLst>
          </p:cNvPr>
          <p:cNvSpPr txBox="1"/>
          <p:nvPr/>
        </p:nvSpPr>
        <p:spPr>
          <a:xfrm>
            <a:off x="132735" y="2558542"/>
            <a:ext cx="7801995" cy="738664"/>
          </a:xfrm>
          <a:prstGeom prst="rect">
            <a:avLst/>
          </a:prstGeom>
          <a:solidFill>
            <a:srgbClr val="F4D9D7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Bookman Old Style" panose="02050604050505020204" pitchFamily="18" charset="0"/>
              </a:rPr>
              <a:t>Perumus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kebijak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dilakukan</a:t>
            </a:r>
            <a:r>
              <a:rPr lang="en-US" sz="1400" dirty="0">
                <a:latin typeface="Bookman Old Style" panose="02050604050505020204" pitchFamily="18" charset="0"/>
              </a:rPr>
              <a:t> oleh </a:t>
            </a:r>
            <a:r>
              <a:rPr lang="en-US" sz="1400" dirty="0" err="1">
                <a:latin typeface="Bookman Old Style" panose="02050604050505020204" pitchFamily="18" charset="0"/>
              </a:rPr>
              <a:t>bupati</a:t>
            </a:r>
            <a:r>
              <a:rPr lang="en-US" sz="1400" dirty="0">
                <a:latin typeface="Bookman Old Style" panose="02050604050505020204" pitchFamily="18" charset="0"/>
              </a:rPr>
              <a:t>/</a:t>
            </a:r>
            <a:r>
              <a:rPr lang="en-US" sz="1400" dirty="0" err="1">
                <a:latin typeface="Bookman Old Style" panose="02050604050505020204" pitchFamily="18" charset="0"/>
              </a:rPr>
              <a:t>wali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kota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berdasark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hasil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pemeta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urus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</a:rPr>
              <a:t>pemerintahan</a:t>
            </a:r>
            <a:r>
              <a:rPr lang="en-US" sz="1400" dirty="0">
                <a:latin typeface="Bookman Old Style" panose="02050604050505020204" pitchFamily="18" charset="0"/>
              </a:rPr>
              <a:t> 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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dilaksanakan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oleh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sekretaris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daerah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melalui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koordinasi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dengan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OPD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terkait</a:t>
            </a:r>
            <a:r>
              <a:rPr lang="en-US" sz="1400" dirty="0">
                <a:latin typeface="Bookman Old Style" panose="02050604050505020204" pitchFamily="18" charset="0"/>
                <a:sym typeface="Wingdings" panose="05000000000000000000" pitchFamily="2" charset="2"/>
              </a:rPr>
              <a:t> dan </a:t>
            </a:r>
            <a:r>
              <a:rPr lang="en-US" sz="1400" dirty="0" err="1">
                <a:latin typeface="Bookman Old Style" panose="02050604050505020204" pitchFamily="18" charset="0"/>
                <a:sym typeface="Wingdings" panose="05000000000000000000" pitchFamily="2" charset="2"/>
              </a:rPr>
              <a:t>camat</a:t>
            </a:r>
            <a:endParaRPr lang="en-ID" sz="1400" dirty="0">
              <a:latin typeface="Bookman Old Style" panose="020506040505050202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58A6944-7AB6-481D-A08E-0409A8B347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925101">
            <a:off x="6730118" y="3045582"/>
            <a:ext cx="1815882" cy="181588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959CABD-5424-413E-AA11-55648F273625}"/>
              </a:ext>
            </a:extLst>
          </p:cNvPr>
          <p:cNvSpPr txBox="1"/>
          <p:nvPr/>
        </p:nvSpPr>
        <p:spPr>
          <a:xfrm>
            <a:off x="441505" y="5648632"/>
            <a:ext cx="6121527" cy="923330"/>
          </a:xfrm>
          <a:prstGeom prst="rect">
            <a:avLst/>
          </a:prstGeom>
          <a:solidFill>
            <a:srgbClr val="EB523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chemeClr val="bg1"/>
                </a:solidFill>
              </a:rPr>
              <a:t>Kewenangan</a:t>
            </a:r>
            <a:r>
              <a:rPr lang="en-US" dirty="0">
                <a:solidFill>
                  <a:schemeClr val="bg1"/>
                </a:solidFill>
              </a:rPr>
              <a:t> yang </a:t>
            </a:r>
            <a:r>
              <a:rPr lang="en-US" dirty="0" err="1">
                <a:solidFill>
                  <a:schemeClr val="bg1"/>
                </a:solidFill>
              </a:rPr>
              <a:t>dilimpahk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itetapkan</a:t>
            </a:r>
            <a:r>
              <a:rPr lang="en-US" dirty="0">
                <a:solidFill>
                  <a:schemeClr val="bg1"/>
                </a:solidFill>
              </a:rPr>
              <a:t> oleh </a:t>
            </a:r>
            <a:r>
              <a:rPr lang="en-US" dirty="0" err="1">
                <a:solidFill>
                  <a:schemeClr val="bg1"/>
                </a:solidFill>
              </a:rPr>
              <a:t>keputus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upati</a:t>
            </a:r>
            <a:r>
              <a:rPr lang="en-US" dirty="0">
                <a:solidFill>
                  <a:schemeClr val="bg1"/>
                </a:solidFill>
              </a:rPr>
              <a:t>/</a:t>
            </a:r>
            <a:r>
              <a:rPr lang="en-US" dirty="0" err="1">
                <a:solidFill>
                  <a:schemeClr val="bg1"/>
                </a:solidFill>
              </a:rPr>
              <a:t>wal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ta</a:t>
            </a:r>
            <a:r>
              <a:rPr lang="en-US" dirty="0">
                <a:solidFill>
                  <a:schemeClr val="bg1"/>
                </a:solidFill>
              </a:rPr>
              <a:t> yang </a:t>
            </a:r>
            <a:r>
              <a:rPr lang="en-US" dirty="0" err="1">
                <a:solidFill>
                  <a:schemeClr val="bg1"/>
                </a:solidFill>
              </a:rPr>
              <a:t>dilengkap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eng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etunjuk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elaksanaan</a:t>
            </a:r>
            <a:r>
              <a:rPr lang="en-US" dirty="0">
                <a:solidFill>
                  <a:schemeClr val="bg1"/>
                </a:solidFill>
              </a:rPr>
              <a:t> dan/</a:t>
            </a:r>
            <a:r>
              <a:rPr lang="en-US" dirty="0" err="1">
                <a:solidFill>
                  <a:schemeClr val="bg1"/>
                </a:solidFill>
              </a:rPr>
              <a:t>ata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etunjuk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eknis</a:t>
            </a:r>
            <a:r>
              <a:rPr lang="en-US" dirty="0">
                <a:solidFill>
                  <a:schemeClr val="bg1"/>
                </a:solidFill>
              </a:rPr>
              <a:t>.</a:t>
            </a:r>
            <a:endParaRPr lang="en-ID" dirty="0">
              <a:solidFill>
                <a:schemeClr val="bg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CD398B3-DB49-4157-B229-A1AF8A304E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925101">
            <a:off x="6042887" y="4777021"/>
            <a:ext cx="1815882" cy="1815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5305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7C7E3-C3C3-4C68-9A92-E54AA3E48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dirty="0"/>
              <a:t>PELAKSANAAN PELIMPAHAN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C782788-840F-4EDD-99DC-EADAF7CC9EC1}"/>
              </a:ext>
            </a:extLst>
          </p:cNvPr>
          <p:cNvGrpSpPr/>
          <p:nvPr/>
        </p:nvGrpSpPr>
        <p:grpSpPr>
          <a:xfrm rot="5400000">
            <a:off x="-2150622" y="-1750"/>
            <a:ext cx="1375594" cy="316398"/>
            <a:chOff x="1640548" y="1151661"/>
            <a:chExt cx="1951806" cy="448932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4E744C0-326D-45B6-978A-611F93EA0C29}"/>
                </a:ext>
              </a:extLst>
            </p:cNvPr>
            <p:cNvSpPr/>
            <p:nvPr/>
          </p:nvSpPr>
          <p:spPr>
            <a:xfrm>
              <a:off x="1640548" y="1151661"/>
              <a:ext cx="448932" cy="448932"/>
            </a:xfrm>
            <a:prstGeom prst="ellipse">
              <a:avLst/>
            </a:prstGeom>
            <a:solidFill>
              <a:srgbClr val="26AA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CCD39B2-B4A9-47A4-AFF6-141CD51CC2FF}"/>
                </a:ext>
              </a:extLst>
            </p:cNvPr>
            <p:cNvSpPr/>
            <p:nvPr/>
          </p:nvSpPr>
          <p:spPr>
            <a:xfrm>
              <a:off x="2391985" y="1151661"/>
              <a:ext cx="448932" cy="448932"/>
            </a:xfrm>
            <a:prstGeom prst="ellipse">
              <a:avLst/>
            </a:prstGeom>
            <a:solidFill>
              <a:srgbClr val="EB5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BDE99AEC-8628-45CB-9FBC-963DD69FC0E3}"/>
                </a:ext>
              </a:extLst>
            </p:cNvPr>
            <p:cNvSpPr/>
            <p:nvPr/>
          </p:nvSpPr>
          <p:spPr>
            <a:xfrm>
              <a:off x="3143422" y="1151661"/>
              <a:ext cx="448932" cy="448932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936B-E1B4-41E6-8AC6-C9BE15661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53A8B8-0320-463C-9CFC-F3F813B668D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A87A35B-E2AC-46BC-918D-C30B84956142}"/>
              </a:ext>
            </a:extLst>
          </p:cNvPr>
          <p:cNvGrpSpPr/>
          <p:nvPr/>
        </p:nvGrpSpPr>
        <p:grpSpPr>
          <a:xfrm>
            <a:off x="0" y="4682616"/>
            <a:ext cx="2955501" cy="2175384"/>
            <a:chOff x="4723234" y="4235345"/>
            <a:chExt cx="2955501" cy="2175384"/>
          </a:xfrm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3E505887-1BCC-4C1F-BF52-5E9D0F59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4754560" y="4429529"/>
              <a:ext cx="2924175" cy="1981200"/>
            </a:xfrm>
            <a:prstGeom prst="rect">
              <a:avLst/>
            </a:prstGeom>
          </p:spPr>
        </p:pic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DC78EB0-F771-433A-ACC4-6FA51933E5D4}"/>
                </a:ext>
              </a:extLst>
            </p:cNvPr>
            <p:cNvGrpSpPr/>
            <p:nvPr/>
          </p:nvGrpSpPr>
          <p:grpSpPr>
            <a:xfrm>
              <a:off x="4723234" y="4235345"/>
              <a:ext cx="2579624" cy="882169"/>
              <a:chOff x="8456469" y="4273527"/>
              <a:chExt cx="2579624" cy="882169"/>
            </a:xfrm>
            <a:solidFill>
              <a:srgbClr val="4FE59B"/>
            </a:solidFill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A8627A5C-3E65-4843-A60D-23C7DDF8C870}"/>
                  </a:ext>
                </a:extLst>
              </p:cNvPr>
              <p:cNvSpPr/>
              <p:nvPr/>
            </p:nvSpPr>
            <p:spPr>
              <a:xfrm>
                <a:off x="10553699" y="4273527"/>
                <a:ext cx="135745" cy="138902"/>
              </a:xfrm>
              <a:custGeom>
                <a:avLst/>
                <a:gdLst>
                  <a:gd name="connsiteX0" fmla="*/ 135746 w 135745"/>
                  <a:gd name="connsiteY0" fmla="*/ 69451 h 138902"/>
                  <a:gd name="connsiteX1" fmla="*/ 91550 w 135745"/>
                  <a:gd name="connsiteY1" fmla="*/ 55245 h 138902"/>
                  <a:gd name="connsiteX2" fmla="*/ 82079 w 135745"/>
                  <a:gd name="connsiteY2" fmla="*/ 44196 h 138902"/>
                  <a:gd name="connsiteX3" fmla="*/ 67873 w 135745"/>
                  <a:gd name="connsiteY3" fmla="*/ 0 h 138902"/>
                  <a:gd name="connsiteX4" fmla="*/ 53667 w 135745"/>
                  <a:gd name="connsiteY4" fmla="*/ 44196 h 138902"/>
                  <a:gd name="connsiteX5" fmla="*/ 44197 w 135745"/>
                  <a:gd name="connsiteY5" fmla="*/ 55245 h 138902"/>
                  <a:gd name="connsiteX6" fmla="*/ 0 w 135745"/>
                  <a:gd name="connsiteY6" fmla="*/ 69451 h 138902"/>
                  <a:gd name="connsiteX7" fmla="*/ 44197 w 135745"/>
                  <a:gd name="connsiteY7" fmla="*/ 83657 h 138902"/>
                  <a:gd name="connsiteX8" fmla="*/ 53667 w 135745"/>
                  <a:gd name="connsiteY8" fmla="*/ 94706 h 138902"/>
                  <a:gd name="connsiteX9" fmla="*/ 67873 w 135745"/>
                  <a:gd name="connsiteY9" fmla="*/ 138903 h 138902"/>
                  <a:gd name="connsiteX10" fmla="*/ 82079 w 135745"/>
                  <a:gd name="connsiteY10" fmla="*/ 94706 h 138902"/>
                  <a:gd name="connsiteX11" fmla="*/ 91550 w 135745"/>
                  <a:gd name="connsiteY11" fmla="*/ 83657 h 138902"/>
                  <a:gd name="connsiteX12" fmla="*/ 135746 w 135745"/>
                  <a:gd name="connsiteY12" fmla="*/ 69451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135746" y="69451"/>
                    </a:moveTo>
                    <a:lnTo>
                      <a:pt x="91550" y="55245"/>
                    </a:lnTo>
                    <a:cubicBezTo>
                      <a:pt x="86814" y="53667"/>
                      <a:pt x="83658" y="48932"/>
                      <a:pt x="82079" y="44196"/>
                    </a:cubicBez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7" y="55245"/>
                    </a:cubicBezTo>
                    <a:lnTo>
                      <a:pt x="0" y="69451"/>
                    </a:lnTo>
                    <a:lnTo>
                      <a:pt x="44197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8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EAA5FDE-33A2-4F50-B4B2-0B110D8D2622}"/>
                  </a:ext>
                </a:extLst>
              </p:cNvPr>
              <p:cNvSpPr/>
              <p:nvPr/>
            </p:nvSpPr>
            <p:spPr>
              <a:xfrm>
                <a:off x="8456469" y="4774606"/>
                <a:ext cx="135745" cy="138902"/>
              </a:xfrm>
              <a:custGeom>
                <a:avLst/>
                <a:gdLst>
                  <a:gd name="connsiteX0" fmla="*/ 82079 w 135745"/>
                  <a:gd name="connsiteY0" fmla="*/ 44196 h 138902"/>
                  <a:gd name="connsiteX1" fmla="*/ 67873 w 135745"/>
                  <a:gd name="connsiteY1" fmla="*/ 0 h 138902"/>
                  <a:gd name="connsiteX2" fmla="*/ 53667 w 135745"/>
                  <a:gd name="connsiteY2" fmla="*/ 44196 h 138902"/>
                  <a:gd name="connsiteX3" fmla="*/ 44196 w 135745"/>
                  <a:gd name="connsiteY3" fmla="*/ 55245 h 138902"/>
                  <a:gd name="connsiteX4" fmla="*/ 0 w 135745"/>
                  <a:gd name="connsiteY4" fmla="*/ 69451 h 138902"/>
                  <a:gd name="connsiteX5" fmla="*/ 44196 w 135745"/>
                  <a:gd name="connsiteY5" fmla="*/ 83657 h 138902"/>
                  <a:gd name="connsiteX6" fmla="*/ 53667 w 135745"/>
                  <a:gd name="connsiteY6" fmla="*/ 94706 h 138902"/>
                  <a:gd name="connsiteX7" fmla="*/ 67873 w 135745"/>
                  <a:gd name="connsiteY7" fmla="*/ 138903 h 138902"/>
                  <a:gd name="connsiteX8" fmla="*/ 82079 w 135745"/>
                  <a:gd name="connsiteY8" fmla="*/ 94706 h 138902"/>
                  <a:gd name="connsiteX9" fmla="*/ 91550 w 135745"/>
                  <a:gd name="connsiteY9" fmla="*/ 83657 h 138902"/>
                  <a:gd name="connsiteX10" fmla="*/ 135746 w 135745"/>
                  <a:gd name="connsiteY10" fmla="*/ 69451 h 138902"/>
                  <a:gd name="connsiteX11" fmla="*/ 91550 w 135745"/>
                  <a:gd name="connsiteY11" fmla="*/ 55245 h 138902"/>
                  <a:gd name="connsiteX12" fmla="*/ 82079 w 135745"/>
                  <a:gd name="connsiteY12" fmla="*/ 44196 h 138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745" h="138902">
                    <a:moveTo>
                      <a:pt x="82079" y="44196"/>
                    </a:moveTo>
                    <a:lnTo>
                      <a:pt x="67873" y="0"/>
                    </a:lnTo>
                    <a:lnTo>
                      <a:pt x="53667" y="44196"/>
                    </a:lnTo>
                    <a:cubicBezTo>
                      <a:pt x="52089" y="48932"/>
                      <a:pt x="48932" y="53667"/>
                      <a:pt x="44196" y="55245"/>
                    </a:cubicBezTo>
                    <a:lnTo>
                      <a:pt x="0" y="69451"/>
                    </a:lnTo>
                    <a:lnTo>
                      <a:pt x="44196" y="83657"/>
                    </a:lnTo>
                    <a:cubicBezTo>
                      <a:pt x="48932" y="85236"/>
                      <a:pt x="52089" y="89971"/>
                      <a:pt x="53667" y="94706"/>
                    </a:cubicBezTo>
                    <a:lnTo>
                      <a:pt x="67873" y="138903"/>
                    </a:lnTo>
                    <a:lnTo>
                      <a:pt x="82079" y="94706"/>
                    </a:lnTo>
                    <a:cubicBezTo>
                      <a:pt x="83657" y="89971"/>
                      <a:pt x="86814" y="85236"/>
                      <a:pt x="91550" y="83657"/>
                    </a:cubicBezTo>
                    <a:lnTo>
                      <a:pt x="135746" y="69451"/>
                    </a:lnTo>
                    <a:lnTo>
                      <a:pt x="91550" y="55245"/>
                    </a:lnTo>
                    <a:cubicBezTo>
                      <a:pt x="86814" y="52088"/>
                      <a:pt x="83657" y="48932"/>
                      <a:pt x="82079" y="44196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DC389E6-554E-4997-A6DD-C4121733E39A}"/>
                  </a:ext>
                </a:extLst>
              </p:cNvPr>
              <p:cNvSpPr/>
              <p:nvPr/>
            </p:nvSpPr>
            <p:spPr>
              <a:xfrm>
                <a:off x="10800065" y="4486896"/>
                <a:ext cx="236028" cy="236028"/>
              </a:xfrm>
              <a:custGeom>
                <a:avLst/>
                <a:gdLst>
                  <a:gd name="connsiteX0" fmla="*/ 224138 w 331472"/>
                  <a:gd name="connsiteY0" fmla="*/ 132589 h 331472"/>
                  <a:gd name="connsiteX1" fmla="*/ 200462 w 331472"/>
                  <a:gd name="connsiteY1" fmla="*/ 105755 h 331472"/>
                  <a:gd name="connsiteX2" fmla="*/ 165736 w 331472"/>
                  <a:gd name="connsiteY2" fmla="*/ 0 h 331472"/>
                  <a:gd name="connsiteX3" fmla="*/ 131010 w 331472"/>
                  <a:gd name="connsiteY3" fmla="*/ 105755 h 331472"/>
                  <a:gd name="connsiteX4" fmla="*/ 107334 w 331472"/>
                  <a:gd name="connsiteY4" fmla="*/ 132589 h 331472"/>
                  <a:gd name="connsiteX5" fmla="*/ 0 w 331472"/>
                  <a:gd name="connsiteY5" fmla="*/ 165736 h 331472"/>
                  <a:gd name="connsiteX6" fmla="*/ 107334 w 331472"/>
                  <a:gd name="connsiteY6" fmla="*/ 198883 h 331472"/>
                  <a:gd name="connsiteX7" fmla="*/ 131010 w 331472"/>
                  <a:gd name="connsiteY7" fmla="*/ 225717 h 331472"/>
                  <a:gd name="connsiteX8" fmla="*/ 165736 w 331472"/>
                  <a:gd name="connsiteY8" fmla="*/ 331472 h 331472"/>
                  <a:gd name="connsiteX9" fmla="*/ 200462 w 331472"/>
                  <a:gd name="connsiteY9" fmla="*/ 225717 h 331472"/>
                  <a:gd name="connsiteX10" fmla="*/ 224138 w 331472"/>
                  <a:gd name="connsiteY10" fmla="*/ 198883 h 331472"/>
                  <a:gd name="connsiteX11" fmla="*/ 331472 w 331472"/>
                  <a:gd name="connsiteY11" fmla="*/ 165736 h 331472"/>
                  <a:gd name="connsiteX12" fmla="*/ 224138 w 331472"/>
                  <a:gd name="connsiteY12" fmla="*/ 132589 h 33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1472" h="331472">
                    <a:moveTo>
                      <a:pt x="224138" y="132589"/>
                    </a:moveTo>
                    <a:cubicBezTo>
                      <a:pt x="213089" y="127854"/>
                      <a:pt x="203619" y="118383"/>
                      <a:pt x="200462" y="105755"/>
                    </a:cubicBezTo>
                    <a:lnTo>
                      <a:pt x="165736" y="0"/>
                    </a:lnTo>
                    <a:lnTo>
                      <a:pt x="131010" y="105755"/>
                    </a:lnTo>
                    <a:cubicBezTo>
                      <a:pt x="127854" y="118383"/>
                      <a:pt x="118383" y="127854"/>
                      <a:pt x="107334" y="132589"/>
                    </a:cubicBezTo>
                    <a:lnTo>
                      <a:pt x="0" y="165736"/>
                    </a:lnTo>
                    <a:lnTo>
                      <a:pt x="107334" y="198883"/>
                    </a:lnTo>
                    <a:cubicBezTo>
                      <a:pt x="118383" y="203619"/>
                      <a:pt x="127854" y="213089"/>
                      <a:pt x="131010" y="225717"/>
                    </a:cubicBezTo>
                    <a:lnTo>
                      <a:pt x="165736" y="331472"/>
                    </a:lnTo>
                    <a:lnTo>
                      <a:pt x="200462" y="225717"/>
                    </a:lnTo>
                    <a:cubicBezTo>
                      <a:pt x="203619" y="213089"/>
                      <a:pt x="213089" y="203619"/>
                      <a:pt x="224138" y="198883"/>
                    </a:cubicBezTo>
                    <a:lnTo>
                      <a:pt x="331472" y="165736"/>
                    </a:lnTo>
                    <a:lnTo>
                      <a:pt x="224138" y="132589"/>
                    </a:ln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2C1895E-7A2E-4296-BA90-2F752DECCBEA}"/>
                  </a:ext>
                </a:extLst>
              </p:cNvPr>
              <p:cNvSpPr/>
              <p:nvPr/>
            </p:nvSpPr>
            <p:spPr>
              <a:xfrm>
                <a:off x="9261827" y="4342978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DF6CD4E-CDBA-4205-AF47-A0468D3A1DC1}"/>
                  </a:ext>
                </a:extLst>
              </p:cNvPr>
              <p:cNvSpPr/>
              <p:nvPr/>
            </p:nvSpPr>
            <p:spPr>
              <a:xfrm>
                <a:off x="9306023" y="5064147"/>
                <a:ext cx="88392" cy="91549"/>
              </a:xfrm>
              <a:custGeom>
                <a:avLst/>
                <a:gdLst>
                  <a:gd name="connsiteX0" fmla="*/ 34726 w 88392"/>
                  <a:gd name="connsiteY0" fmla="*/ 63138 h 91549"/>
                  <a:gd name="connsiteX1" fmla="*/ 44196 w 88392"/>
                  <a:gd name="connsiteY1" fmla="*/ 91550 h 91549"/>
                  <a:gd name="connsiteX2" fmla="*/ 53667 w 88392"/>
                  <a:gd name="connsiteY2" fmla="*/ 63138 h 91549"/>
                  <a:gd name="connsiteX3" fmla="*/ 59981 w 88392"/>
                  <a:gd name="connsiteY3" fmla="*/ 55245 h 91549"/>
                  <a:gd name="connsiteX4" fmla="*/ 88393 w 88392"/>
                  <a:gd name="connsiteY4" fmla="*/ 45775 h 91549"/>
                  <a:gd name="connsiteX5" fmla="*/ 59981 w 88392"/>
                  <a:gd name="connsiteY5" fmla="*/ 36304 h 91549"/>
                  <a:gd name="connsiteX6" fmla="*/ 53667 w 88392"/>
                  <a:gd name="connsiteY6" fmla="*/ 28412 h 91549"/>
                  <a:gd name="connsiteX7" fmla="*/ 44196 w 88392"/>
                  <a:gd name="connsiteY7" fmla="*/ 0 h 91549"/>
                  <a:gd name="connsiteX8" fmla="*/ 34726 w 88392"/>
                  <a:gd name="connsiteY8" fmla="*/ 28412 h 91549"/>
                  <a:gd name="connsiteX9" fmla="*/ 28412 w 88392"/>
                  <a:gd name="connsiteY9" fmla="*/ 36304 h 91549"/>
                  <a:gd name="connsiteX10" fmla="*/ 0 w 88392"/>
                  <a:gd name="connsiteY10" fmla="*/ 45775 h 91549"/>
                  <a:gd name="connsiteX11" fmla="*/ 28412 w 88392"/>
                  <a:gd name="connsiteY11" fmla="*/ 55245 h 91549"/>
                  <a:gd name="connsiteX12" fmla="*/ 34726 w 88392"/>
                  <a:gd name="connsiteY12" fmla="*/ 63138 h 9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392" h="91549">
                    <a:moveTo>
                      <a:pt x="34726" y="63138"/>
                    </a:moveTo>
                    <a:lnTo>
                      <a:pt x="44196" y="91550"/>
                    </a:lnTo>
                    <a:lnTo>
                      <a:pt x="53667" y="63138"/>
                    </a:lnTo>
                    <a:cubicBezTo>
                      <a:pt x="55245" y="59981"/>
                      <a:pt x="56824" y="56824"/>
                      <a:pt x="59981" y="55245"/>
                    </a:cubicBezTo>
                    <a:lnTo>
                      <a:pt x="88393" y="45775"/>
                    </a:lnTo>
                    <a:lnTo>
                      <a:pt x="59981" y="36304"/>
                    </a:lnTo>
                    <a:cubicBezTo>
                      <a:pt x="56824" y="34726"/>
                      <a:pt x="53667" y="33147"/>
                      <a:pt x="53667" y="28412"/>
                    </a:cubicBezTo>
                    <a:lnTo>
                      <a:pt x="44196" y="0"/>
                    </a:lnTo>
                    <a:lnTo>
                      <a:pt x="34726" y="28412"/>
                    </a:lnTo>
                    <a:cubicBezTo>
                      <a:pt x="33147" y="31569"/>
                      <a:pt x="31569" y="34726"/>
                      <a:pt x="28412" y="36304"/>
                    </a:cubicBezTo>
                    <a:lnTo>
                      <a:pt x="0" y="45775"/>
                    </a:lnTo>
                    <a:lnTo>
                      <a:pt x="28412" y="55245"/>
                    </a:lnTo>
                    <a:cubicBezTo>
                      <a:pt x="31569" y="56824"/>
                      <a:pt x="33147" y="59981"/>
                      <a:pt x="34726" y="63138"/>
                    </a:cubicBezTo>
                    <a:close/>
                  </a:path>
                </a:pathLst>
              </a:custGeom>
              <a:grpFill/>
              <a:ln w="157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D"/>
              </a:p>
            </p:txBody>
          </p: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C0A1C22-6CDE-4921-B812-DE6492D4CE51}"/>
              </a:ext>
            </a:extLst>
          </p:cNvPr>
          <p:cNvSpPr txBox="1"/>
          <p:nvPr/>
        </p:nvSpPr>
        <p:spPr>
          <a:xfrm>
            <a:off x="1463098" y="1327355"/>
            <a:ext cx="1957473" cy="369332"/>
          </a:xfrm>
          <a:prstGeom prst="rect">
            <a:avLst/>
          </a:prstGeom>
          <a:solidFill>
            <a:srgbClr val="EB523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Bupati</a:t>
            </a:r>
            <a:r>
              <a:rPr lang="en-US" dirty="0">
                <a:solidFill>
                  <a:schemeClr val="bg1"/>
                </a:solidFill>
              </a:rPr>
              <a:t>/</a:t>
            </a:r>
            <a:r>
              <a:rPr lang="en-US" dirty="0" err="1">
                <a:solidFill>
                  <a:schemeClr val="bg1"/>
                </a:solidFill>
              </a:rPr>
              <a:t>Wali</a:t>
            </a:r>
            <a:r>
              <a:rPr lang="en-US" dirty="0">
                <a:solidFill>
                  <a:schemeClr val="bg1"/>
                </a:solidFill>
              </a:rPr>
              <a:t> Kota</a:t>
            </a:r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F8AEE5-9996-4B40-833B-4B5D3D4AF872}"/>
              </a:ext>
            </a:extLst>
          </p:cNvPr>
          <p:cNvSpPr txBox="1"/>
          <p:nvPr/>
        </p:nvSpPr>
        <p:spPr>
          <a:xfrm>
            <a:off x="1418854" y="1762689"/>
            <a:ext cx="3008769" cy="1200329"/>
          </a:xfrm>
          <a:prstGeom prst="rect">
            <a:avLst/>
          </a:prstGeom>
          <a:solidFill>
            <a:srgbClr val="9BE9D3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dirty="0" err="1"/>
              <a:t>Menyediakan</a:t>
            </a:r>
            <a:r>
              <a:rPr lang="en-US" dirty="0"/>
              <a:t> dan </a:t>
            </a:r>
            <a:r>
              <a:rPr lang="en-US" dirty="0" err="1"/>
              <a:t>melengkapi</a:t>
            </a:r>
            <a:r>
              <a:rPr lang="en-US" dirty="0"/>
              <a:t> </a:t>
            </a:r>
            <a:r>
              <a:rPr lang="en-US" dirty="0" err="1"/>
              <a:t>sarpras</a:t>
            </a:r>
            <a:r>
              <a:rPr lang="en-US" dirty="0"/>
              <a:t>, </a:t>
            </a:r>
            <a:r>
              <a:rPr lang="en-US" dirty="0" err="1"/>
              <a:t>ketersediaan</a:t>
            </a:r>
            <a:r>
              <a:rPr lang="en-US" dirty="0"/>
              <a:t> dan </a:t>
            </a:r>
            <a:r>
              <a:rPr lang="en-US" dirty="0" err="1"/>
              <a:t>kompetensi</a:t>
            </a:r>
            <a:r>
              <a:rPr lang="en-US" dirty="0"/>
              <a:t> SDM, dan </a:t>
            </a:r>
            <a:r>
              <a:rPr lang="en-US" dirty="0" err="1"/>
              <a:t>anggaran</a:t>
            </a:r>
            <a:endParaRPr lang="en-ID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251E2-0950-4325-BD86-238E4A37E162}"/>
              </a:ext>
            </a:extLst>
          </p:cNvPr>
          <p:cNvSpPr txBox="1"/>
          <p:nvPr/>
        </p:nvSpPr>
        <p:spPr>
          <a:xfrm>
            <a:off x="1423772" y="3094963"/>
            <a:ext cx="3443293" cy="1661993"/>
          </a:xfrm>
          <a:prstGeom prst="rect">
            <a:avLst/>
          </a:prstGeom>
          <a:solidFill>
            <a:srgbClr val="9BE9D3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sz="1700" dirty="0" err="1"/>
              <a:t>Melakukan</a:t>
            </a:r>
            <a:r>
              <a:rPr lang="en-US" sz="1700" dirty="0"/>
              <a:t> </a:t>
            </a:r>
            <a:r>
              <a:rPr lang="en-US" sz="1700" dirty="0" err="1"/>
              <a:t>peningkatan</a:t>
            </a:r>
            <a:r>
              <a:rPr lang="en-US" sz="1700" dirty="0"/>
              <a:t> </a:t>
            </a:r>
            <a:r>
              <a:rPr lang="en-US" sz="1700" dirty="0" err="1"/>
              <a:t>kapasitas</a:t>
            </a:r>
            <a:r>
              <a:rPr lang="en-US" sz="1700" dirty="0"/>
              <a:t> </a:t>
            </a:r>
            <a:r>
              <a:rPr lang="en-US" sz="1700" dirty="0" err="1"/>
              <a:t>teknis</a:t>
            </a:r>
            <a:r>
              <a:rPr lang="en-US" sz="1700" dirty="0"/>
              <a:t> dan </a:t>
            </a:r>
            <a:r>
              <a:rPr lang="en-US" sz="1700" dirty="0" err="1"/>
              <a:t>fungsional</a:t>
            </a:r>
            <a:r>
              <a:rPr lang="en-US" sz="1700" dirty="0"/>
              <a:t> </a:t>
            </a:r>
            <a:r>
              <a:rPr lang="en-US" sz="1700" dirty="0" err="1"/>
              <a:t>perangkat</a:t>
            </a:r>
            <a:r>
              <a:rPr lang="en-US" sz="1700" dirty="0"/>
              <a:t> </a:t>
            </a:r>
            <a:r>
              <a:rPr lang="en-US" sz="1700" dirty="0" err="1"/>
              <a:t>kecamatan</a:t>
            </a:r>
            <a:r>
              <a:rPr lang="en-US" sz="1700" dirty="0"/>
              <a:t>, </a:t>
            </a:r>
            <a:r>
              <a:rPr lang="en-US" sz="1700" dirty="0" err="1"/>
              <a:t>penyusunan</a:t>
            </a:r>
            <a:r>
              <a:rPr lang="en-US" sz="1700" dirty="0"/>
              <a:t> </a:t>
            </a:r>
            <a:r>
              <a:rPr lang="en-US" sz="1700" dirty="0" err="1"/>
              <a:t>standar</a:t>
            </a:r>
            <a:r>
              <a:rPr lang="en-US" sz="1700" dirty="0"/>
              <a:t> </a:t>
            </a:r>
            <a:r>
              <a:rPr lang="en-US" sz="1700" dirty="0" err="1"/>
              <a:t>pelayanan</a:t>
            </a:r>
            <a:r>
              <a:rPr lang="en-US" sz="1700" dirty="0"/>
              <a:t> &amp; SOP </a:t>
            </a:r>
            <a:r>
              <a:rPr lang="en-US" sz="1700" dirty="0" err="1"/>
              <a:t>Pelayanan</a:t>
            </a:r>
            <a:r>
              <a:rPr lang="en-US" sz="1700" dirty="0"/>
              <a:t> </a:t>
            </a:r>
            <a:r>
              <a:rPr lang="en-US" sz="1700" dirty="0" err="1"/>
              <a:t>kecamatan</a:t>
            </a:r>
            <a:r>
              <a:rPr lang="en-US" sz="1700" dirty="0"/>
              <a:t>, dan </a:t>
            </a:r>
            <a:r>
              <a:rPr lang="en-US" sz="1700" dirty="0" err="1"/>
              <a:t>pendampingan</a:t>
            </a:r>
            <a:r>
              <a:rPr lang="en-US" sz="1700" dirty="0"/>
              <a:t> &amp; </a:t>
            </a:r>
            <a:r>
              <a:rPr lang="en-US" sz="1700" dirty="0" err="1"/>
              <a:t>asistensi</a:t>
            </a:r>
            <a:endParaRPr lang="en-ID" sz="17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593873-7106-4273-AD92-4EA46968C6E7}"/>
              </a:ext>
            </a:extLst>
          </p:cNvPr>
          <p:cNvSpPr txBox="1"/>
          <p:nvPr/>
        </p:nvSpPr>
        <p:spPr>
          <a:xfrm>
            <a:off x="8768472" y="1332274"/>
            <a:ext cx="1957473" cy="369332"/>
          </a:xfrm>
          <a:prstGeom prst="rect">
            <a:avLst/>
          </a:prstGeom>
          <a:solidFill>
            <a:srgbClr val="EB523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KECAMATAN</a:t>
            </a:r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1F3D75-3658-4EB6-B67C-D36C673ED18A}"/>
              </a:ext>
            </a:extLst>
          </p:cNvPr>
          <p:cNvSpPr txBox="1"/>
          <p:nvPr/>
        </p:nvSpPr>
        <p:spPr>
          <a:xfrm>
            <a:off x="7715832" y="1767609"/>
            <a:ext cx="3008769" cy="1138773"/>
          </a:xfrm>
          <a:prstGeom prst="rect">
            <a:avLst/>
          </a:prstGeom>
          <a:solidFill>
            <a:srgbClr val="9BE9D3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r"/>
            <a:r>
              <a:rPr lang="en-US" sz="1700" dirty="0" err="1"/>
              <a:t>Pelaksanaan</a:t>
            </a:r>
            <a:r>
              <a:rPr lang="en-US" sz="1700" dirty="0"/>
              <a:t> </a:t>
            </a:r>
            <a:r>
              <a:rPr lang="en-US" sz="1700" dirty="0" err="1"/>
              <a:t>pelimpahan</a:t>
            </a:r>
            <a:r>
              <a:rPr lang="en-US" sz="1700" dirty="0"/>
              <a:t> </a:t>
            </a:r>
            <a:r>
              <a:rPr lang="en-US" sz="1700" dirty="0" err="1"/>
              <a:t>dapat</a:t>
            </a:r>
            <a:r>
              <a:rPr lang="en-US" sz="1700" dirty="0"/>
              <a:t> </a:t>
            </a:r>
            <a:r>
              <a:rPr lang="en-US" sz="1700" dirty="0" err="1"/>
              <a:t>diselenggarakan</a:t>
            </a:r>
            <a:r>
              <a:rPr lang="en-US" sz="1700" dirty="0"/>
              <a:t> </a:t>
            </a:r>
            <a:r>
              <a:rPr lang="en-US" sz="1700" dirty="0" err="1"/>
              <a:t>melalui</a:t>
            </a:r>
            <a:r>
              <a:rPr lang="en-US" sz="1700" dirty="0"/>
              <a:t> </a:t>
            </a:r>
            <a:r>
              <a:rPr lang="en-US" sz="1700" dirty="0" err="1"/>
              <a:t>koordinasi</a:t>
            </a:r>
            <a:r>
              <a:rPr lang="en-US" sz="1700" dirty="0"/>
              <a:t> </a:t>
            </a:r>
            <a:r>
              <a:rPr lang="en-US" sz="1700" dirty="0" err="1"/>
              <a:t>dengan</a:t>
            </a:r>
            <a:r>
              <a:rPr lang="en-US" sz="1700" dirty="0"/>
              <a:t> </a:t>
            </a:r>
            <a:r>
              <a:rPr lang="en-US" sz="1700" dirty="0" err="1"/>
              <a:t>perangkat</a:t>
            </a:r>
            <a:r>
              <a:rPr lang="en-US" sz="1700" dirty="0"/>
              <a:t> </a:t>
            </a:r>
            <a:r>
              <a:rPr lang="en-US" sz="1700" dirty="0" err="1"/>
              <a:t>daerah</a:t>
            </a:r>
            <a:r>
              <a:rPr lang="en-US" sz="1700" dirty="0"/>
              <a:t> </a:t>
            </a:r>
            <a:r>
              <a:rPr lang="en-US" sz="1700" dirty="0" err="1"/>
              <a:t>terkait</a:t>
            </a:r>
            <a:endParaRPr lang="en-ID" sz="17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91E212-5C7E-435F-8F51-DDFD0EC601F3}"/>
              </a:ext>
            </a:extLst>
          </p:cNvPr>
          <p:cNvSpPr txBox="1"/>
          <p:nvPr/>
        </p:nvSpPr>
        <p:spPr>
          <a:xfrm>
            <a:off x="7281308" y="3085135"/>
            <a:ext cx="3443293" cy="1661993"/>
          </a:xfrm>
          <a:prstGeom prst="rect">
            <a:avLst/>
          </a:prstGeom>
          <a:solidFill>
            <a:srgbClr val="9BE9D3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r"/>
            <a:r>
              <a:rPr lang="en-US" sz="1700" dirty="0" err="1"/>
              <a:t>Pelaksanaan</a:t>
            </a:r>
            <a:r>
              <a:rPr lang="en-US" sz="1700" dirty="0"/>
              <a:t> </a:t>
            </a:r>
            <a:r>
              <a:rPr lang="en-US" sz="1700" dirty="0" err="1"/>
              <a:t>pelimpahan</a:t>
            </a:r>
            <a:r>
              <a:rPr lang="en-US" sz="1700" dirty="0"/>
              <a:t> yang </a:t>
            </a:r>
            <a:r>
              <a:rPr lang="en-US" sz="1700" dirty="0" err="1"/>
              <a:t>produk</a:t>
            </a:r>
            <a:r>
              <a:rPr lang="en-US" sz="1700" dirty="0"/>
              <a:t> </a:t>
            </a:r>
            <a:r>
              <a:rPr lang="en-US" sz="1700" dirty="0" err="1"/>
              <a:t>layanannya</a:t>
            </a:r>
            <a:r>
              <a:rPr lang="en-US" sz="1700" dirty="0"/>
              <a:t> </a:t>
            </a:r>
            <a:r>
              <a:rPr lang="en-US" sz="1700" dirty="0" err="1"/>
              <a:t>bersifat</a:t>
            </a:r>
            <a:r>
              <a:rPr lang="en-US" sz="1700" dirty="0"/>
              <a:t> </a:t>
            </a:r>
            <a:r>
              <a:rPr lang="en-US" sz="1700" dirty="0" err="1"/>
              <a:t>administrasi</a:t>
            </a:r>
            <a:r>
              <a:rPr lang="en-US" sz="1700" dirty="0"/>
              <a:t> </a:t>
            </a:r>
            <a:r>
              <a:rPr lang="en-US" sz="1700" dirty="0" err="1"/>
              <a:t>diselenggarakan</a:t>
            </a:r>
            <a:r>
              <a:rPr lang="en-US" sz="1700" dirty="0"/>
              <a:t> </a:t>
            </a:r>
            <a:r>
              <a:rPr lang="en-US" sz="1700" dirty="0" err="1"/>
              <a:t>melalui</a:t>
            </a:r>
            <a:r>
              <a:rPr lang="en-US" sz="1700" dirty="0"/>
              <a:t> </a:t>
            </a:r>
            <a:r>
              <a:rPr lang="en-US" sz="1700" dirty="0" err="1"/>
              <a:t>pelayanan</a:t>
            </a:r>
            <a:r>
              <a:rPr lang="en-US" sz="1700" dirty="0"/>
              <a:t> </a:t>
            </a:r>
            <a:r>
              <a:rPr lang="en-US" sz="1700" dirty="0" err="1"/>
              <a:t>terpadu</a:t>
            </a:r>
            <a:r>
              <a:rPr lang="en-US" sz="1700" dirty="0"/>
              <a:t> </a:t>
            </a:r>
            <a:r>
              <a:rPr lang="en-US" sz="1700" dirty="0" err="1"/>
              <a:t>kecamatan</a:t>
            </a:r>
            <a:r>
              <a:rPr lang="en-US" sz="1700" dirty="0"/>
              <a:t> dan/</a:t>
            </a:r>
            <a:r>
              <a:rPr lang="en-US" sz="1700" dirty="0" err="1"/>
              <a:t>atau</a:t>
            </a:r>
            <a:r>
              <a:rPr lang="en-US" sz="1700" dirty="0"/>
              <a:t> </a:t>
            </a:r>
            <a:r>
              <a:rPr lang="en-US" sz="1700" dirty="0" err="1"/>
              <a:t>kelurahan</a:t>
            </a:r>
            <a:r>
              <a:rPr lang="en-US" sz="1700" dirty="0"/>
              <a:t> </a:t>
            </a:r>
            <a:r>
              <a:rPr lang="en-US" sz="1700" dirty="0" err="1"/>
              <a:t>atau</a:t>
            </a:r>
            <a:r>
              <a:rPr lang="en-US" sz="1700" dirty="0"/>
              <a:t> </a:t>
            </a:r>
            <a:r>
              <a:rPr lang="en-US" sz="1700" dirty="0" err="1"/>
              <a:t>inovasi</a:t>
            </a:r>
            <a:r>
              <a:rPr lang="en-US" sz="1700" dirty="0"/>
              <a:t> </a:t>
            </a:r>
            <a:r>
              <a:rPr lang="en-US" sz="1700" dirty="0" err="1"/>
              <a:t>pelayanan</a:t>
            </a:r>
            <a:r>
              <a:rPr lang="en-US" sz="1700" dirty="0"/>
              <a:t> </a:t>
            </a:r>
            <a:r>
              <a:rPr lang="en-US" sz="1700" dirty="0" err="1"/>
              <a:t>lainnya</a:t>
            </a:r>
            <a:endParaRPr lang="en-ID" sz="1700" dirty="0"/>
          </a:p>
        </p:txBody>
      </p:sp>
    </p:spTree>
    <p:extLst>
      <p:ext uri="{BB962C8B-B14F-4D97-AF65-F5344CB8AC3E}">
        <p14:creationId xmlns:p14="http://schemas.microsoft.com/office/powerpoint/2010/main" val="21131439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7C7E3-C3C3-4C68-9A92-E54AA3E48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dirty="0"/>
              <a:t>MONITORING DAN EVALUASI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C782788-840F-4EDD-99DC-EADAF7CC9EC1}"/>
              </a:ext>
            </a:extLst>
          </p:cNvPr>
          <p:cNvGrpSpPr/>
          <p:nvPr/>
        </p:nvGrpSpPr>
        <p:grpSpPr>
          <a:xfrm rot="5400000">
            <a:off x="-2150622" y="-1750"/>
            <a:ext cx="1375594" cy="316398"/>
            <a:chOff x="1640548" y="1151661"/>
            <a:chExt cx="1951806" cy="448932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4E744C0-326D-45B6-978A-611F93EA0C29}"/>
                </a:ext>
              </a:extLst>
            </p:cNvPr>
            <p:cNvSpPr/>
            <p:nvPr/>
          </p:nvSpPr>
          <p:spPr>
            <a:xfrm>
              <a:off x="1640548" y="1151661"/>
              <a:ext cx="448932" cy="448932"/>
            </a:xfrm>
            <a:prstGeom prst="ellipse">
              <a:avLst/>
            </a:prstGeom>
            <a:solidFill>
              <a:srgbClr val="26AA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CCD39B2-B4A9-47A4-AFF6-141CD51CC2FF}"/>
                </a:ext>
              </a:extLst>
            </p:cNvPr>
            <p:cNvSpPr/>
            <p:nvPr/>
          </p:nvSpPr>
          <p:spPr>
            <a:xfrm>
              <a:off x="2391985" y="1151661"/>
              <a:ext cx="448932" cy="448932"/>
            </a:xfrm>
            <a:prstGeom prst="ellipse">
              <a:avLst/>
            </a:prstGeom>
            <a:solidFill>
              <a:srgbClr val="EB5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BDE99AEC-8628-45CB-9FBC-963DD69FC0E3}"/>
                </a:ext>
              </a:extLst>
            </p:cNvPr>
            <p:cNvSpPr/>
            <p:nvPr/>
          </p:nvSpPr>
          <p:spPr>
            <a:xfrm>
              <a:off x="3143422" y="1151661"/>
              <a:ext cx="448932" cy="448932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9F936B-E1B4-41E6-8AC6-C9BE15661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53A8B8-0320-463C-9CFC-F3F813B668D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A685C1-0C3E-42E0-B592-E0CC77BCD8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63623"/>
            <a:ext cx="716286" cy="2294377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2A6A5AB4-9E88-4F4F-ABC5-F5FA6B77C7B6}"/>
              </a:ext>
            </a:extLst>
          </p:cNvPr>
          <p:cNvGrpSpPr/>
          <p:nvPr/>
        </p:nvGrpSpPr>
        <p:grpSpPr>
          <a:xfrm>
            <a:off x="200093" y="1397606"/>
            <a:ext cx="3362169" cy="3114398"/>
            <a:chOff x="200093" y="1397606"/>
            <a:chExt cx="3362169" cy="3114398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45B48B3-9153-4C84-ADFF-28FCDF68E44D}"/>
                </a:ext>
              </a:extLst>
            </p:cNvPr>
            <p:cNvSpPr txBox="1"/>
            <p:nvPr/>
          </p:nvSpPr>
          <p:spPr>
            <a:xfrm>
              <a:off x="716286" y="4142672"/>
              <a:ext cx="1376932" cy="369332"/>
            </a:xfrm>
            <a:prstGeom prst="rect">
              <a:avLst/>
            </a:prstGeom>
            <a:solidFill>
              <a:srgbClr val="1D8164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CAMAT</a:t>
              </a:r>
              <a:endParaRPr lang="en-ID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153E4A8-1820-4E88-8683-A5858A440FE7}"/>
                </a:ext>
              </a:extLst>
            </p:cNvPr>
            <p:cNvSpPr txBox="1"/>
            <p:nvPr/>
          </p:nvSpPr>
          <p:spPr>
            <a:xfrm>
              <a:off x="200093" y="1397606"/>
              <a:ext cx="2587352" cy="369332"/>
            </a:xfrm>
            <a:prstGeom prst="rect">
              <a:avLst/>
            </a:prstGeom>
            <a:solidFill>
              <a:srgbClr val="EB5232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BUPATI/WALI KOTA</a:t>
              </a:r>
              <a:endParaRPr lang="en-ID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2AB5691-AEAA-4925-9988-FA1862610A35}"/>
                </a:ext>
              </a:extLst>
            </p:cNvPr>
            <p:cNvSpPr txBox="1"/>
            <p:nvPr/>
          </p:nvSpPr>
          <p:spPr>
            <a:xfrm>
              <a:off x="2012628" y="2831532"/>
              <a:ext cx="1549634" cy="369332"/>
            </a:xfrm>
            <a:prstGeom prst="rect">
              <a:avLst/>
            </a:prstGeom>
            <a:solidFill>
              <a:srgbClr val="F1A79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SEKDA</a:t>
              </a:r>
              <a:endParaRPr lang="en-ID" dirty="0"/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97837B1-A46B-4012-AB7C-254B57B3B64B}"/>
                </a:ext>
              </a:extLst>
            </p:cNvPr>
            <p:cNvCxnSpPr>
              <a:stCxn id="6" idx="0"/>
              <a:endCxn id="8" idx="2"/>
            </p:cNvCxnSpPr>
            <p:nvPr/>
          </p:nvCxnSpPr>
          <p:spPr>
            <a:xfrm flipV="1">
              <a:off x="1404752" y="3200864"/>
              <a:ext cx="1382693" cy="941808"/>
            </a:xfrm>
            <a:prstGeom prst="straightConnector1">
              <a:avLst/>
            </a:prstGeom>
            <a:ln w="28575">
              <a:solidFill>
                <a:srgbClr val="1D81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AA2B509-636B-4086-B575-20302CB89372}"/>
                </a:ext>
              </a:extLst>
            </p:cNvPr>
            <p:cNvCxnSpPr>
              <a:stCxn id="8" idx="0"/>
              <a:endCxn id="7" idx="2"/>
            </p:cNvCxnSpPr>
            <p:nvPr/>
          </p:nvCxnSpPr>
          <p:spPr>
            <a:xfrm flipH="1" flipV="1">
              <a:off x="1493769" y="1766938"/>
              <a:ext cx="1293676" cy="1064594"/>
            </a:xfrm>
            <a:prstGeom prst="straightConnector1">
              <a:avLst/>
            </a:prstGeom>
            <a:ln w="28575">
              <a:solidFill>
                <a:srgbClr val="1D816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FA1A90-6C84-4A11-B10C-A43C58853C18}"/>
                </a:ext>
              </a:extLst>
            </p:cNvPr>
            <p:cNvSpPr txBox="1"/>
            <p:nvPr/>
          </p:nvSpPr>
          <p:spPr>
            <a:xfrm rot="19605469">
              <a:off x="1038132" y="3338082"/>
              <a:ext cx="12936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err="1"/>
                <a:t>Laporan</a:t>
              </a:r>
              <a:r>
                <a:rPr lang="en-US" sz="1400" dirty="0"/>
                <a:t> </a:t>
              </a:r>
              <a:r>
                <a:rPr lang="en-US" sz="1400" dirty="0" err="1"/>
                <a:t>kpd</a:t>
              </a:r>
              <a:r>
                <a:rPr lang="en-US" sz="1400" dirty="0"/>
                <a:t> </a:t>
              </a:r>
              <a:r>
                <a:rPr lang="en-US" sz="1400" dirty="0" err="1"/>
                <a:t>bup</a:t>
              </a:r>
              <a:r>
                <a:rPr lang="en-US" sz="1400" dirty="0"/>
                <a:t>/</a:t>
              </a:r>
              <a:r>
                <a:rPr lang="en-US" sz="1400" dirty="0" err="1"/>
                <a:t>walkot</a:t>
              </a:r>
              <a:endParaRPr lang="en-ID" sz="1400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EBFD29E-58AF-4BB4-9B22-12E76E638BAF}"/>
              </a:ext>
            </a:extLst>
          </p:cNvPr>
          <p:cNvSpPr txBox="1"/>
          <p:nvPr/>
        </p:nvSpPr>
        <p:spPr>
          <a:xfrm>
            <a:off x="716286" y="4521923"/>
            <a:ext cx="2600836" cy="1169551"/>
          </a:xfrm>
          <a:prstGeom prst="rect">
            <a:avLst/>
          </a:prstGeom>
          <a:solidFill>
            <a:srgbClr val="9BE9D3"/>
          </a:solidFill>
        </p:spPr>
        <p:txBody>
          <a:bodyPr wrap="square" rtlCol="0">
            <a:spAutoFit/>
          </a:bodyPr>
          <a:lstStyle/>
          <a:p>
            <a:r>
              <a:rPr lang="en-US" sz="1400" dirty="0" err="1"/>
              <a:t>Laporan</a:t>
            </a:r>
            <a:r>
              <a:rPr lang="en-US" sz="1400" dirty="0"/>
              <a:t> </a:t>
            </a:r>
            <a:r>
              <a:rPr lang="en-US" sz="1400" dirty="0" err="1"/>
              <a:t>pelaksanaan</a:t>
            </a:r>
            <a:r>
              <a:rPr lang="en-US" sz="1400" dirty="0"/>
              <a:t> </a:t>
            </a:r>
            <a:r>
              <a:rPr lang="en-US" sz="1400" dirty="0" err="1"/>
              <a:t>pelimpahan</a:t>
            </a:r>
            <a:r>
              <a:rPr lang="en-US" sz="1400" dirty="0"/>
              <a:t> </a:t>
            </a:r>
            <a:r>
              <a:rPr lang="en-US" sz="1400" dirty="0" err="1"/>
              <a:t>kewenangan</a:t>
            </a:r>
            <a:r>
              <a:rPr lang="en-US" sz="1400" dirty="0"/>
              <a:t> </a:t>
            </a:r>
            <a:r>
              <a:rPr lang="en-US" sz="1400" dirty="0" err="1"/>
              <a:t>setiap</a:t>
            </a:r>
            <a:r>
              <a:rPr lang="en-US" sz="1400" dirty="0"/>
              <a:t> </a:t>
            </a:r>
            <a:r>
              <a:rPr lang="en-US" sz="1400" dirty="0" err="1"/>
              <a:t>akhir</a:t>
            </a:r>
            <a:r>
              <a:rPr lang="en-US" sz="1400" dirty="0"/>
              <a:t> </a:t>
            </a:r>
            <a:r>
              <a:rPr lang="en-US" sz="1400" dirty="0" err="1"/>
              <a:t>tahun</a:t>
            </a:r>
            <a:r>
              <a:rPr lang="en-US" sz="1400" dirty="0"/>
              <a:t> </a:t>
            </a:r>
            <a:r>
              <a:rPr lang="en-US" sz="1400" dirty="0" err="1"/>
              <a:t>anggaran</a:t>
            </a:r>
            <a:r>
              <a:rPr lang="en-US" sz="1400" dirty="0"/>
              <a:t> </a:t>
            </a:r>
            <a:r>
              <a:rPr lang="en-US" sz="1400" dirty="0" err="1"/>
              <a:t>berjalan</a:t>
            </a:r>
            <a:r>
              <a:rPr lang="en-US" sz="1400" dirty="0"/>
              <a:t> </a:t>
            </a:r>
            <a:r>
              <a:rPr lang="en-US" sz="1400" dirty="0" err="1"/>
              <a:t>bersama</a:t>
            </a:r>
            <a:r>
              <a:rPr lang="en-US" sz="1400" dirty="0"/>
              <a:t> </a:t>
            </a:r>
            <a:r>
              <a:rPr lang="en-US" sz="1400" dirty="0" err="1"/>
              <a:t>dengan</a:t>
            </a:r>
            <a:r>
              <a:rPr lang="en-US" sz="1400" dirty="0"/>
              <a:t> </a:t>
            </a:r>
            <a:r>
              <a:rPr lang="en-US" sz="1400" dirty="0" err="1"/>
              <a:t>laporan</a:t>
            </a:r>
            <a:r>
              <a:rPr lang="en-US" sz="1400" dirty="0"/>
              <a:t> </a:t>
            </a:r>
            <a:r>
              <a:rPr lang="en-US" sz="1400" dirty="0" err="1"/>
              <a:t>kinerja</a:t>
            </a:r>
            <a:r>
              <a:rPr lang="en-US" sz="1400" dirty="0"/>
              <a:t> </a:t>
            </a:r>
            <a:r>
              <a:rPr lang="en-US" sz="1400" dirty="0" err="1"/>
              <a:t>kecamatan</a:t>
            </a:r>
            <a:endParaRPr lang="en-ID" sz="14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05FC60-B8E8-4A81-BFA8-736476815452}"/>
              </a:ext>
            </a:extLst>
          </p:cNvPr>
          <p:cNvSpPr txBox="1"/>
          <p:nvPr/>
        </p:nvSpPr>
        <p:spPr>
          <a:xfrm>
            <a:off x="5338916" y="1196264"/>
            <a:ext cx="5545394" cy="646331"/>
          </a:xfrm>
          <a:prstGeom prst="rect">
            <a:avLst/>
          </a:prstGeom>
          <a:solidFill>
            <a:srgbClr val="C73113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algn="ctr"/>
            <a:r>
              <a:rPr lang="en-ID" dirty="0" err="1">
                <a:solidFill>
                  <a:schemeClr val="bg1"/>
                </a:solidFill>
              </a:rPr>
              <a:t>bupati</a:t>
            </a:r>
            <a:r>
              <a:rPr lang="en-ID" dirty="0">
                <a:solidFill>
                  <a:schemeClr val="bg1"/>
                </a:solidFill>
              </a:rPr>
              <a:t>/</a:t>
            </a:r>
            <a:r>
              <a:rPr lang="en-ID" dirty="0" err="1">
                <a:solidFill>
                  <a:schemeClr val="bg1"/>
                </a:solidFill>
              </a:rPr>
              <a:t>wali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kota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melakukan</a:t>
            </a:r>
            <a:r>
              <a:rPr lang="en-ID" dirty="0">
                <a:solidFill>
                  <a:schemeClr val="bg1"/>
                </a:solidFill>
              </a:rPr>
              <a:t> monitoring dan </a:t>
            </a:r>
            <a:r>
              <a:rPr lang="en-ID" dirty="0" err="1">
                <a:solidFill>
                  <a:schemeClr val="bg1"/>
                </a:solidFill>
              </a:rPr>
              <a:t>evaluasi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secara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berkala</a:t>
            </a:r>
            <a:r>
              <a:rPr lang="en-ID" dirty="0">
                <a:solidFill>
                  <a:schemeClr val="bg1"/>
                </a:solidFill>
              </a:rPr>
              <a:t> dan/</a:t>
            </a:r>
            <a:r>
              <a:rPr lang="en-ID" dirty="0" err="1">
                <a:solidFill>
                  <a:schemeClr val="bg1"/>
                </a:solidFill>
              </a:rPr>
              <a:t>atau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sesuai</a:t>
            </a:r>
            <a:r>
              <a:rPr lang="en-ID" dirty="0">
                <a:solidFill>
                  <a:schemeClr val="bg1"/>
                </a:solidFill>
              </a:rPr>
              <a:t> </a:t>
            </a:r>
            <a:r>
              <a:rPr lang="en-ID" dirty="0" err="1">
                <a:solidFill>
                  <a:schemeClr val="bg1"/>
                </a:solidFill>
              </a:rPr>
              <a:t>kebutuhan</a:t>
            </a:r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CD2382B-FFEE-4FFD-92D8-B31153D4FCEA}"/>
              </a:ext>
            </a:extLst>
          </p:cNvPr>
          <p:cNvSpPr txBox="1"/>
          <p:nvPr/>
        </p:nvSpPr>
        <p:spPr>
          <a:xfrm>
            <a:off x="4589068" y="1848804"/>
            <a:ext cx="6740832" cy="830997"/>
          </a:xfrm>
          <a:prstGeom prst="rect">
            <a:avLst/>
          </a:prstGeom>
          <a:solidFill>
            <a:srgbClr val="F1A79A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algn="ctr"/>
            <a:r>
              <a:rPr lang="en-ID" sz="1600" dirty="0"/>
              <a:t>Hasil monitoring dan </a:t>
            </a:r>
            <a:r>
              <a:rPr lang="en-ID" sz="1600" dirty="0" err="1"/>
              <a:t>evaluasi</a:t>
            </a:r>
            <a:r>
              <a:rPr lang="en-ID" sz="1600" dirty="0"/>
              <a:t> </a:t>
            </a:r>
            <a:r>
              <a:rPr lang="en-ID" sz="1600" dirty="0" err="1"/>
              <a:t>digunakan</a:t>
            </a:r>
            <a:r>
              <a:rPr lang="en-ID" sz="1600" dirty="0"/>
              <a:t> </a:t>
            </a:r>
            <a:r>
              <a:rPr lang="en-ID" sz="1600" dirty="0" err="1"/>
              <a:t>untuk</a:t>
            </a:r>
            <a:r>
              <a:rPr lang="en-ID" sz="1600" dirty="0"/>
              <a:t> </a:t>
            </a:r>
            <a:r>
              <a:rPr lang="en-ID" sz="1600" dirty="0" err="1"/>
              <a:t>menentukan</a:t>
            </a:r>
            <a:r>
              <a:rPr lang="en-ID" sz="1600" dirty="0"/>
              <a:t> </a:t>
            </a:r>
            <a:r>
              <a:rPr lang="en-ID" sz="1600" dirty="0" err="1"/>
              <a:t>efektivitas</a:t>
            </a:r>
            <a:r>
              <a:rPr lang="en-ID" sz="1600" dirty="0"/>
              <a:t> dan </a:t>
            </a:r>
            <a:r>
              <a:rPr lang="en-ID" sz="1600" dirty="0" err="1"/>
              <a:t>efisiensi</a:t>
            </a:r>
            <a:r>
              <a:rPr lang="en-ID" sz="1600" dirty="0"/>
              <a:t> </a:t>
            </a:r>
            <a:r>
              <a:rPr lang="en-ID" sz="1600" dirty="0" err="1"/>
              <a:t>kewenangan</a:t>
            </a:r>
            <a:r>
              <a:rPr lang="en-ID" sz="1600" dirty="0"/>
              <a:t> yang </a:t>
            </a:r>
            <a:r>
              <a:rPr lang="en-ID" sz="1600" dirty="0" err="1"/>
              <a:t>dilimpahkan</a:t>
            </a:r>
            <a:r>
              <a:rPr lang="en-ID" sz="1600" dirty="0"/>
              <a:t> </a:t>
            </a:r>
            <a:r>
              <a:rPr lang="en-ID" sz="1600" dirty="0" err="1"/>
              <a:t>bupati</a:t>
            </a:r>
            <a:r>
              <a:rPr lang="en-ID" sz="1600" dirty="0"/>
              <a:t>/</a:t>
            </a:r>
            <a:r>
              <a:rPr lang="en-ID" sz="1600" dirty="0" err="1"/>
              <a:t>wali</a:t>
            </a:r>
            <a:r>
              <a:rPr lang="en-ID" sz="1600" dirty="0"/>
              <a:t> </a:t>
            </a:r>
            <a:r>
              <a:rPr lang="en-ID" sz="1600" dirty="0" err="1"/>
              <a:t>kota</a:t>
            </a:r>
            <a:r>
              <a:rPr lang="en-ID" sz="1600" dirty="0"/>
              <a:t> </a:t>
            </a:r>
            <a:r>
              <a:rPr lang="en-ID" sz="1600" dirty="0" err="1"/>
              <a:t>sebagai</a:t>
            </a:r>
            <a:r>
              <a:rPr lang="en-ID" sz="1600" dirty="0"/>
              <a:t> </a:t>
            </a:r>
            <a:r>
              <a:rPr lang="en-ID" sz="1600" dirty="0" err="1"/>
              <a:t>dasar</a:t>
            </a:r>
            <a:r>
              <a:rPr lang="en-ID" sz="1600" dirty="0"/>
              <a:t> </a:t>
            </a:r>
            <a:r>
              <a:rPr lang="en-ID" sz="1600" dirty="0" err="1"/>
              <a:t>melakukan</a:t>
            </a:r>
            <a:r>
              <a:rPr lang="en-ID" sz="1600" dirty="0"/>
              <a:t> </a:t>
            </a:r>
            <a:r>
              <a:rPr lang="en-ID" sz="1600" dirty="0" err="1"/>
              <a:t>pemetaan</a:t>
            </a:r>
            <a:r>
              <a:rPr lang="en-ID" sz="1600" dirty="0"/>
              <a:t> </a:t>
            </a:r>
            <a:r>
              <a:rPr lang="en-ID" sz="1600" dirty="0" err="1"/>
              <a:t>beban</a:t>
            </a:r>
            <a:r>
              <a:rPr lang="en-ID" sz="1600" dirty="0"/>
              <a:t> </a:t>
            </a:r>
            <a:r>
              <a:rPr lang="en-ID" sz="1600" dirty="0" err="1"/>
              <a:t>pelimpahan</a:t>
            </a:r>
            <a:r>
              <a:rPr lang="en-ID" sz="1600" dirty="0"/>
              <a:t> </a:t>
            </a:r>
            <a:r>
              <a:rPr lang="en-ID" sz="1600" dirty="0" err="1"/>
              <a:t>kepada</a:t>
            </a:r>
            <a:r>
              <a:rPr lang="en-ID" sz="1600" dirty="0"/>
              <a:t> </a:t>
            </a:r>
            <a:r>
              <a:rPr lang="en-ID" sz="1600" dirty="0" err="1"/>
              <a:t>camat</a:t>
            </a:r>
            <a:r>
              <a:rPr lang="en-ID" sz="1600" dirty="0"/>
              <a:t> di </a:t>
            </a:r>
            <a:r>
              <a:rPr lang="en-ID" sz="1600" dirty="0" err="1"/>
              <a:t>tahun</a:t>
            </a:r>
            <a:r>
              <a:rPr lang="en-ID" sz="1600" dirty="0"/>
              <a:t> </a:t>
            </a:r>
            <a:r>
              <a:rPr lang="en-ID" sz="1600" dirty="0" err="1"/>
              <a:t>berikutnya</a:t>
            </a:r>
            <a:endParaRPr lang="en-ID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E4A8B1-D82F-4A03-B61C-A44865CE7FAF}"/>
              </a:ext>
            </a:extLst>
          </p:cNvPr>
          <p:cNvSpPr txBox="1"/>
          <p:nvPr/>
        </p:nvSpPr>
        <p:spPr>
          <a:xfrm>
            <a:off x="5621861" y="2679801"/>
            <a:ext cx="4970206" cy="830997"/>
          </a:xfrm>
          <a:prstGeom prst="rect">
            <a:avLst/>
          </a:prstGeom>
          <a:solidFill>
            <a:srgbClr val="EB523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algn="ctr"/>
            <a:r>
              <a:rPr lang="en-ID" sz="1600" dirty="0">
                <a:solidFill>
                  <a:schemeClr val="bg1"/>
                </a:solidFill>
              </a:rPr>
              <a:t>Beban </a:t>
            </a:r>
            <a:r>
              <a:rPr lang="en-ID" sz="1600" dirty="0" err="1">
                <a:solidFill>
                  <a:schemeClr val="bg1"/>
                </a:solidFill>
              </a:rPr>
              <a:t>pelimpaha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dapat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sama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denga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tahu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sebelumnya</a:t>
            </a:r>
            <a:r>
              <a:rPr lang="en-ID" sz="1600" dirty="0">
                <a:solidFill>
                  <a:schemeClr val="bg1"/>
                </a:solidFill>
              </a:rPr>
              <a:t>, </a:t>
            </a:r>
            <a:r>
              <a:rPr lang="en-ID" sz="1600" dirty="0" err="1">
                <a:solidFill>
                  <a:schemeClr val="bg1"/>
                </a:solidFill>
              </a:rPr>
              <a:t>dikurangi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dari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tahu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sebelumnya</a:t>
            </a:r>
            <a:r>
              <a:rPr lang="en-ID" sz="1600" dirty="0">
                <a:solidFill>
                  <a:schemeClr val="bg1"/>
                </a:solidFill>
              </a:rPr>
              <a:t> dan/</a:t>
            </a:r>
            <a:r>
              <a:rPr lang="en-ID" sz="1600" dirty="0" err="1">
                <a:solidFill>
                  <a:schemeClr val="bg1"/>
                </a:solidFill>
              </a:rPr>
              <a:t>atau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ditambahka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dari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tahun</a:t>
            </a:r>
            <a:r>
              <a:rPr lang="en-ID" sz="1600" dirty="0">
                <a:solidFill>
                  <a:schemeClr val="bg1"/>
                </a:solidFill>
              </a:rPr>
              <a:t> </a:t>
            </a:r>
            <a:r>
              <a:rPr lang="en-ID" sz="1600" dirty="0" err="1">
                <a:solidFill>
                  <a:schemeClr val="bg1"/>
                </a:solidFill>
              </a:rPr>
              <a:t>sebelumnya</a:t>
            </a:r>
            <a:endParaRPr lang="en-ID" sz="1600" dirty="0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D6F6059-5D2D-4EB9-92E5-E97920B05E97}"/>
              </a:ext>
            </a:extLst>
          </p:cNvPr>
          <p:cNvCxnSpPr/>
          <p:nvPr/>
        </p:nvCxnSpPr>
        <p:spPr>
          <a:xfrm flipV="1">
            <a:off x="3716594" y="3864077"/>
            <a:ext cx="0" cy="2993923"/>
          </a:xfrm>
          <a:prstGeom prst="line">
            <a:avLst/>
          </a:prstGeom>
          <a:ln w="76200">
            <a:solidFill>
              <a:srgbClr val="26AA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726CAF5-3C1F-4AA8-8100-3B63A33B2211}"/>
              </a:ext>
            </a:extLst>
          </p:cNvPr>
          <p:cNvCxnSpPr/>
          <p:nvPr/>
        </p:nvCxnSpPr>
        <p:spPr>
          <a:xfrm>
            <a:off x="3701845" y="3849329"/>
            <a:ext cx="8490155" cy="0"/>
          </a:xfrm>
          <a:prstGeom prst="line">
            <a:avLst/>
          </a:prstGeom>
          <a:ln w="76200">
            <a:solidFill>
              <a:srgbClr val="26AA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8418AB1-7811-49AF-95CD-47C09E4AAE71}"/>
              </a:ext>
            </a:extLst>
          </p:cNvPr>
          <p:cNvSpPr txBox="1"/>
          <p:nvPr/>
        </p:nvSpPr>
        <p:spPr>
          <a:xfrm>
            <a:off x="3716594" y="3864077"/>
            <a:ext cx="3215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PENARIKAN KEWENANGAN</a:t>
            </a:r>
            <a:endParaRPr lang="en-ID" b="1" u="sng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8B4AD7-A8AA-4A83-BFEF-E29ED783643A}"/>
              </a:ext>
            </a:extLst>
          </p:cNvPr>
          <p:cNvSpPr txBox="1"/>
          <p:nvPr/>
        </p:nvSpPr>
        <p:spPr>
          <a:xfrm>
            <a:off x="3716594" y="4233409"/>
            <a:ext cx="84753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Bup</a:t>
            </a:r>
            <a:r>
              <a:rPr lang="en-US" dirty="0"/>
              <a:t>/</a:t>
            </a:r>
            <a:r>
              <a:rPr lang="en-US" dirty="0" err="1"/>
              <a:t>Walkot</a:t>
            </a:r>
            <a:r>
              <a:rPr lang="en-US" dirty="0"/>
              <a:t>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penarikan</a:t>
            </a:r>
            <a:r>
              <a:rPr lang="en-US" dirty="0"/>
              <a:t> </a:t>
            </a:r>
            <a:r>
              <a:rPr lang="en-US" dirty="0" err="1"/>
              <a:t>kewenangan</a:t>
            </a:r>
            <a:r>
              <a:rPr lang="en-US" dirty="0"/>
              <a:t> yang </a:t>
            </a:r>
            <a:r>
              <a:rPr lang="en-US" dirty="0" err="1"/>
              <a:t>tidak</a:t>
            </a:r>
            <a:r>
              <a:rPr lang="en-US" dirty="0"/>
              <a:t> </a:t>
            </a:r>
            <a:r>
              <a:rPr lang="en-US" dirty="0" err="1"/>
              <a:t>efektif</a:t>
            </a:r>
            <a:r>
              <a:rPr lang="en-US" dirty="0"/>
              <a:t> dan </a:t>
            </a:r>
            <a:r>
              <a:rPr lang="en-US" dirty="0" err="1"/>
              <a:t>efisien</a:t>
            </a:r>
            <a:r>
              <a:rPr lang="en-US" dirty="0"/>
              <a:t> </a:t>
            </a:r>
            <a:r>
              <a:rPr lang="en-US" dirty="0" err="1"/>
              <a:t>setelah</a:t>
            </a:r>
            <a:r>
              <a:rPr lang="en-US" dirty="0"/>
              <a:t> </a:t>
            </a:r>
            <a:r>
              <a:rPr lang="en-US" dirty="0" err="1"/>
              <a:t>dilaksanakan</a:t>
            </a:r>
            <a:r>
              <a:rPr lang="en-US" dirty="0"/>
              <a:t> minimal 3 </a:t>
            </a:r>
            <a:r>
              <a:rPr lang="en-US" dirty="0" err="1"/>
              <a:t>tahun</a:t>
            </a:r>
            <a:r>
              <a:rPr lang="en-US" dirty="0"/>
              <a:t> dan </a:t>
            </a:r>
            <a:r>
              <a:rPr lang="en-US" dirty="0" err="1"/>
              <a:t>dikembalikan</a:t>
            </a:r>
            <a:r>
              <a:rPr lang="en-US" dirty="0"/>
              <a:t> </a:t>
            </a:r>
            <a:r>
              <a:rPr lang="en-US" dirty="0" err="1"/>
              <a:t>kpd</a:t>
            </a:r>
            <a:r>
              <a:rPr lang="en-US" dirty="0"/>
              <a:t> </a:t>
            </a:r>
            <a:r>
              <a:rPr lang="en-US" dirty="0" err="1"/>
              <a:t>perangkat</a:t>
            </a:r>
            <a:r>
              <a:rPr lang="en-US" dirty="0"/>
              <a:t> </a:t>
            </a:r>
            <a:r>
              <a:rPr lang="en-US" dirty="0" err="1"/>
              <a:t>daerah</a:t>
            </a:r>
            <a:r>
              <a:rPr lang="en-US" dirty="0"/>
              <a:t> </a:t>
            </a:r>
            <a:r>
              <a:rPr lang="en-US" dirty="0" err="1"/>
              <a:t>terkait</a:t>
            </a:r>
            <a:endParaRPr lang="en-ID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005972-2508-4D8F-964C-4F2FEE32AEF8}"/>
              </a:ext>
            </a:extLst>
          </p:cNvPr>
          <p:cNvSpPr txBox="1"/>
          <p:nvPr/>
        </p:nvSpPr>
        <p:spPr>
          <a:xfrm>
            <a:off x="3849329" y="4940712"/>
            <a:ext cx="7978873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 err="1"/>
              <a:t>Kriteria</a:t>
            </a:r>
            <a:r>
              <a:rPr lang="en-US" sz="1700" dirty="0"/>
              <a:t> </a:t>
            </a:r>
            <a:r>
              <a:rPr lang="en-US" sz="1700" dirty="0" err="1"/>
              <a:t>kewenangan</a:t>
            </a:r>
            <a:r>
              <a:rPr lang="en-US" sz="1700" dirty="0"/>
              <a:t> yang </a:t>
            </a:r>
            <a:r>
              <a:rPr lang="en-US" sz="1700" dirty="0" err="1"/>
              <a:t>ditarik</a:t>
            </a:r>
            <a:r>
              <a:rPr lang="en-US" sz="1700" dirty="0"/>
              <a:t>: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700" dirty="0" err="1"/>
              <a:t>obyek</a:t>
            </a:r>
            <a:r>
              <a:rPr lang="en-ID" sz="1700" dirty="0"/>
              <a:t> </a:t>
            </a:r>
            <a:r>
              <a:rPr lang="en-ID" sz="1700" dirty="0" err="1"/>
              <a:t>sasaran</a:t>
            </a:r>
            <a:r>
              <a:rPr lang="en-ID" sz="1700" dirty="0"/>
              <a:t> dan </a:t>
            </a:r>
            <a:r>
              <a:rPr lang="en-ID" sz="1700" dirty="0" err="1"/>
              <a:t>kewenangan</a:t>
            </a:r>
            <a:r>
              <a:rPr lang="en-ID" sz="1700" dirty="0"/>
              <a:t> </a:t>
            </a:r>
            <a:r>
              <a:rPr lang="en-ID" sz="1700" dirty="0" err="1"/>
              <a:t>tidak</a:t>
            </a:r>
            <a:r>
              <a:rPr lang="en-ID" sz="1700" dirty="0"/>
              <a:t> </a:t>
            </a:r>
            <a:r>
              <a:rPr lang="en-ID" sz="1700" dirty="0" err="1"/>
              <a:t>ada</a:t>
            </a:r>
            <a:r>
              <a:rPr lang="en-ID" sz="1700" dirty="0"/>
              <a:t> </a:t>
            </a:r>
            <a:r>
              <a:rPr lang="en-ID" sz="1700" dirty="0" err="1"/>
              <a:t>lagi</a:t>
            </a:r>
            <a:r>
              <a:rPr lang="en-ID" sz="1700" dirty="0"/>
              <a:t> di </a:t>
            </a:r>
            <a:r>
              <a:rPr lang="en-ID" sz="1700" dirty="0" err="1"/>
              <a:t>kecamatan</a:t>
            </a:r>
            <a:r>
              <a:rPr lang="en-ID" sz="1700" dirty="0"/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700" dirty="0" err="1"/>
              <a:t>terbitnya</a:t>
            </a:r>
            <a:r>
              <a:rPr lang="en-ID" sz="1700" dirty="0"/>
              <a:t> </a:t>
            </a:r>
            <a:r>
              <a:rPr lang="en-ID" sz="1700" dirty="0" err="1"/>
              <a:t>kebijakan</a:t>
            </a:r>
            <a:r>
              <a:rPr lang="en-ID" sz="1700" dirty="0"/>
              <a:t> </a:t>
            </a:r>
            <a:r>
              <a:rPr lang="en-ID" sz="1700" dirty="0" err="1"/>
              <a:t>baru</a:t>
            </a:r>
            <a:r>
              <a:rPr lang="en-ID" sz="1700" dirty="0"/>
              <a:t> di </a:t>
            </a:r>
            <a:r>
              <a:rPr lang="en-ID" sz="1700" dirty="0" err="1"/>
              <a:t>bidang</a:t>
            </a:r>
            <a:r>
              <a:rPr lang="en-ID" sz="1700" dirty="0"/>
              <a:t> </a:t>
            </a:r>
            <a:r>
              <a:rPr lang="en-ID" sz="1700" dirty="0" err="1"/>
              <a:t>pemerintahan</a:t>
            </a:r>
            <a:r>
              <a:rPr lang="en-ID" sz="1700" dirty="0"/>
              <a:t> yang </a:t>
            </a:r>
            <a:r>
              <a:rPr lang="en-ID" sz="1700" dirty="0" err="1"/>
              <a:t>mengakibatkan</a:t>
            </a:r>
            <a:r>
              <a:rPr lang="en-ID" sz="1700" dirty="0"/>
              <a:t> </a:t>
            </a:r>
            <a:r>
              <a:rPr lang="en-ID" sz="1700" dirty="0" err="1"/>
              <a:t>harus</a:t>
            </a:r>
            <a:r>
              <a:rPr lang="en-ID" sz="1700" dirty="0"/>
              <a:t> </a:t>
            </a:r>
            <a:r>
              <a:rPr lang="en-ID" sz="1700" dirty="0" err="1"/>
              <a:t>ditariknya</a:t>
            </a:r>
            <a:r>
              <a:rPr lang="en-ID" sz="1700" dirty="0"/>
              <a:t> </a:t>
            </a:r>
            <a:r>
              <a:rPr lang="en-ID" sz="1700" dirty="0" err="1"/>
              <a:t>kembali</a:t>
            </a:r>
            <a:r>
              <a:rPr lang="en-ID" sz="1700" dirty="0"/>
              <a:t> </a:t>
            </a:r>
            <a:r>
              <a:rPr lang="en-ID" sz="1700" dirty="0" err="1"/>
              <a:t>kewenangan</a:t>
            </a:r>
            <a:r>
              <a:rPr lang="en-ID" sz="1700" dirty="0"/>
              <a:t> yang </a:t>
            </a:r>
            <a:r>
              <a:rPr lang="en-ID" sz="1700" dirty="0" err="1"/>
              <a:t>dilimpahkan</a:t>
            </a:r>
            <a:r>
              <a:rPr lang="en-ID" sz="1700" dirty="0"/>
              <a:t> </a:t>
            </a:r>
            <a:r>
              <a:rPr lang="en-ID" sz="1700" dirty="0" err="1"/>
              <a:t>kepada</a:t>
            </a:r>
            <a:r>
              <a:rPr lang="en-ID" sz="1700" dirty="0"/>
              <a:t> </a:t>
            </a:r>
            <a:r>
              <a:rPr lang="en-ID" sz="1700" dirty="0" err="1"/>
              <a:t>camat</a:t>
            </a:r>
            <a:r>
              <a:rPr lang="en-ID" sz="1700" dirty="0"/>
              <a:t> dan/</a:t>
            </a:r>
            <a:r>
              <a:rPr lang="en-ID" sz="1700" dirty="0" err="1"/>
              <a:t>atau</a:t>
            </a:r>
            <a:r>
              <a:rPr lang="en-ID" sz="1700" dirty="0"/>
              <a:t> </a:t>
            </a:r>
            <a:r>
              <a:rPr lang="en-ID" sz="1700" dirty="0" err="1"/>
              <a:t>dipindahkan</a:t>
            </a:r>
            <a:r>
              <a:rPr lang="en-ID" sz="1700" dirty="0"/>
              <a:t> </a:t>
            </a:r>
            <a:r>
              <a:rPr lang="en-ID" sz="1700" dirty="0" err="1"/>
              <a:t>pelaksanaannya</a:t>
            </a:r>
            <a:r>
              <a:rPr lang="en-ID" sz="1700" dirty="0"/>
              <a:t> </a:t>
            </a:r>
            <a:r>
              <a:rPr lang="en-ID" sz="1700" dirty="0" err="1"/>
              <a:t>kepada</a:t>
            </a:r>
            <a:r>
              <a:rPr lang="en-ID" sz="1700" dirty="0"/>
              <a:t> </a:t>
            </a:r>
            <a:r>
              <a:rPr lang="en-ID" sz="1700" dirty="0" err="1"/>
              <a:t>perangkat</a:t>
            </a:r>
            <a:r>
              <a:rPr lang="en-ID" sz="1700" dirty="0"/>
              <a:t> </a:t>
            </a:r>
            <a:r>
              <a:rPr lang="en-ID" sz="1700" dirty="0" err="1"/>
              <a:t>daerah</a:t>
            </a:r>
            <a:r>
              <a:rPr lang="en-ID" sz="1700" dirty="0"/>
              <a:t> lain. </a:t>
            </a:r>
          </a:p>
        </p:txBody>
      </p:sp>
    </p:spTree>
    <p:extLst>
      <p:ext uri="{BB962C8B-B14F-4D97-AF65-F5344CB8AC3E}">
        <p14:creationId xmlns:p14="http://schemas.microsoft.com/office/powerpoint/2010/main" val="334985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B163B9CA-B626-4FC8-9BEA-AD5062A97125}"/>
              </a:ext>
            </a:extLst>
          </p:cNvPr>
          <p:cNvSpPr>
            <a:spLocks/>
          </p:cNvSpPr>
          <p:nvPr/>
        </p:nvSpPr>
        <p:spPr bwMode="auto">
          <a:xfrm flipH="1">
            <a:off x="3149600" y="-2419093"/>
            <a:ext cx="9042400" cy="9277092"/>
          </a:xfrm>
          <a:custGeom>
            <a:avLst/>
            <a:gdLst>
              <a:gd name="T0" fmla="*/ 687 w 1433"/>
              <a:gd name="T1" fmla="*/ 1323 h 1472"/>
              <a:gd name="T2" fmla="*/ 0 w 1433"/>
              <a:gd name="T3" fmla="*/ 1472 h 1472"/>
              <a:gd name="T4" fmla="*/ 0 w 1433"/>
              <a:gd name="T5" fmla="*/ 0 h 1472"/>
              <a:gd name="T6" fmla="*/ 106 w 1433"/>
              <a:gd name="T7" fmla="*/ 0 h 1472"/>
              <a:gd name="T8" fmla="*/ 116 w 1433"/>
              <a:gd name="T9" fmla="*/ 23 h 1472"/>
              <a:gd name="T10" fmla="*/ 317 w 1433"/>
              <a:gd name="T11" fmla="*/ 182 h 1472"/>
              <a:gd name="T12" fmla="*/ 612 w 1433"/>
              <a:gd name="T13" fmla="*/ 234 h 1472"/>
              <a:gd name="T14" fmla="*/ 1414 w 1433"/>
              <a:gd name="T15" fmla="*/ 763 h 1472"/>
              <a:gd name="T16" fmla="*/ 687 w 1433"/>
              <a:gd name="T17" fmla="*/ 1323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33" h="1472">
                <a:moveTo>
                  <a:pt x="687" y="1323"/>
                </a:moveTo>
                <a:cubicBezTo>
                  <a:pt x="247" y="1226"/>
                  <a:pt x="0" y="1472"/>
                  <a:pt x="0" y="1472"/>
                </a:cubicBezTo>
                <a:cubicBezTo>
                  <a:pt x="0" y="0"/>
                  <a:pt x="0" y="0"/>
                  <a:pt x="0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0"/>
                  <a:pt x="108" y="9"/>
                  <a:pt x="116" y="23"/>
                </a:cubicBezTo>
                <a:cubicBezTo>
                  <a:pt x="136" y="59"/>
                  <a:pt x="189" y="132"/>
                  <a:pt x="317" y="182"/>
                </a:cubicBezTo>
                <a:cubicBezTo>
                  <a:pt x="389" y="210"/>
                  <a:pt x="485" y="231"/>
                  <a:pt x="612" y="234"/>
                </a:cubicBezTo>
                <a:cubicBezTo>
                  <a:pt x="1048" y="246"/>
                  <a:pt x="1394" y="435"/>
                  <a:pt x="1414" y="763"/>
                </a:cubicBezTo>
                <a:cubicBezTo>
                  <a:pt x="1433" y="1091"/>
                  <a:pt x="1127" y="1420"/>
                  <a:pt x="687" y="1323"/>
                </a:cubicBezTo>
                <a:close/>
              </a:path>
            </a:pathLst>
          </a:custGeom>
          <a:gradFill>
            <a:gsLst>
              <a:gs pos="0">
                <a:srgbClr val="CBEBE1"/>
              </a:gs>
              <a:gs pos="71000">
                <a:srgbClr val="26AA83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D275205-DE2E-4A19-A41D-6348169134E4}"/>
              </a:ext>
            </a:extLst>
          </p:cNvPr>
          <p:cNvGrpSpPr/>
          <p:nvPr/>
        </p:nvGrpSpPr>
        <p:grpSpPr>
          <a:xfrm>
            <a:off x="6603876" y="-1713841"/>
            <a:ext cx="2824788" cy="2820195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25E66DF1-0ECE-41A4-B610-F26F25D87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4D7AFE9-6B6D-4F58-8E97-42C8D4D30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B51E4CB-40F6-4999-86C3-9AA7803CF4A7}"/>
              </a:ext>
            </a:extLst>
          </p:cNvPr>
          <p:cNvGrpSpPr/>
          <p:nvPr/>
        </p:nvGrpSpPr>
        <p:grpSpPr>
          <a:xfrm>
            <a:off x="9428664" y="-930474"/>
            <a:ext cx="4366574" cy="4359474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573D84-65AD-4FDF-8784-92C82547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65C26B95-C0EF-42EB-BA6C-9984D29954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982A0E-46FA-4C41-B5CA-15BC64C7D565}"/>
              </a:ext>
            </a:extLst>
          </p:cNvPr>
          <p:cNvGrpSpPr/>
          <p:nvPr/>
        </p:nvGrpSpPr>
        <p:grpSpPr>
          <a:xfrm>
            <a:off x="-1179804" y="3092522"/>
            <a:ext cx="4366574" cy="4359474"/>
            <a:chOff x="9614862" y="3675063"/>
            <a:chExt cx="1952625" cy="1949450"/>
          </a:xfrm>
          <a:solidFill>
            <a:schemeClr val="bg1">
              <a:alpha val="6000"/>
            </a:schemeClr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AED4E1C9-B06C-4D3C-87FE-23CC33A7F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CE2DF4E-F450-4925-842B-E8093AEB1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1D796A05-699F-49E4-A55B-71856D1E1C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20695" y="4470524"/>
            <a:ext cx="2219589" cy="317084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239C4044-91FA-4D3F-94EE-A0659A5CA3BF}"/>
              </a:ext>
            </a:extLst>
          </p:cNvPr>
          <p:cNvSpPr txBox="1">
            <a:spLocks/>
          </p:cNvSpPr>
          <p:nvPr/>
        </p:nvSpPr>
        <p:spPr>
          <a:xfrm>
            <a:off x="584200" y="292099"/>
            <a:ext cx="11023600" cy="7778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DASAR HUKUM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C6306E6-3F00-4EF3-8221-633596CACE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7786403"/>
              </p:ext>
            </p:extLst>
          </p:nvPr>
        </p:nvGraphicFramePr>
        <p:xfrm>
          <a:off x="629409" y="1844181"/>
          <a:ext cx="7557569" cy="4236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156A1446-F787-4D3F-BD86-26BA431EF43F}"/>
              </a:ext>
            </a:extLst>
          </p:cNvPr>
          <p:cNvSpPr txBox="1">
            <a:spLocks/>
          </p:cNvSpPr>
          <p:nvPr/>
        </p:nvSpPr>
        <p:spPr>
          <a:xfrm>
            <a:off x="569603" y="948544"/>
            <a:ext cx="11023600" cy="7778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err="1"/>
              <a:t>Undang-Undang</a:t>
            </a:r>
            <a:r>
              <a:rPr lang="en-US" sz="2400" dirty="0"/>
              <a:t> No. 23 Th. 2014 </a:t>
            </a:r>
            <a:r>
              <a:rPr lang="en-US" sz="2400" dirty="0" err="1"/>
              <a:t>ttg</a:t>
            </a:r>
            <a:r>
              <a:rPr lang="en-US" sz="2400" dirty="0"/>
              <a:t> </a:t>
            </a:r>
            <a:r>
              <a:rPr lang="en-US" sz="2400" dirty="0" err="1"/>
              <a:t>Pemerintahan</a:t>
            </a:r>
            <a:r>
              <a:rPr lang="en-US" sz="2400" dirty="0"/>
              <a:t> Daerah</a:t>
            </a:r>
          </a:p>
        </p:txBody>
      </p:sp>
    </p:spTree>
    <p:extLst>
      <p:ext uri="{BB962C8B-B14F-4D97-AF65-F5344CB8AC3E}">
        <p14:creationId xmlns:p14="http://schemas.microsoft.com/office/powerpoint/2010/main" val="21726704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7C7E3-C3C3-4C68-9A92-E54AA3E48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dirty="0"/>
              <a:t>PEMBINAAN DAN PENGAWASAN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C782788-840F-4EDD-99DC-EADAF7CC9EC1}"/>
              </a:ext>
            </a:extLst>
          </p:cNvPr>
          <p:cNvGrpSpPr/>
          <p:nvPr/>
        </p:nvGrpSpPr>
        <p:grpSpPr>
          <a:xfrm rot="5400000">
            <a:off x="-2150622" y="-1750"/>
            <a:ext cx="1375594" cy="316398"/>
            <a:chOff x="1640548" y="1151661"/>
            <a:chExt cx="1951806" cy="448932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4E744C0-326D-45B6-978A-611F93EA0C29}"/>
                </a:ext>
              </a:extLst>
            </p:cNvPr>
            <p:cNvSpPr/>
            <p:nvPr/>
          </p:nvSpPr>
          <p:spPr>
            <a:xfrm>
              <a:off x="1640548" y="1151661"/>
              <a:ext cx="448932" cy="448932"/>
            </a:xfrm>
            <a:prstGeom prst="ellipse">
              <a:avLst/>
            </a:prstGeom>
            <a:solidFill>
              <a:srgbClr val="26AA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ACCD39B2-B4A9-47A4-AFF6-141CD51CC2FF}"/>
                </a:ext>
              </a:extLst>
            </p:cNvPr>
            <p:cNvSpPr/>
            <p:nvPr/>
          </p:nvSpPr>
          <p:spPr>
            <a:xfrm>
              <a:off x="2391985" y="1151661"/>
              <a:ext cx="448932" cy="448932"/>
            </a:xfrm>
            <a:prstGeom prst="ellipse">
              <a:avLst/>
            </a:prstGeom>
            <a:solidFill>
              <a:srgbClr val="EB5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BDE99AEC-8628-45CB-9FBC-963DD69FC0E3}"/>
                </a:ext>
              </a:extLst>
            </p:cNvPr>
            <p:cNvSpPr/>
            <p:nvPr/>
          </p:nvSpPr>
          <p:spPr>
            <a:xfrm>
              <a:off x="3143422" y="1151661"/>
              <a:ext cx="448932" cy="448932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06D3A3D-91C1-4801-99C9-6D47E98F2763}"/>
              </a:ext>
            </a:extLst>
          </p:cNvPr>
          <p:cNvSpPr txBox="1"/>
          <p:nvPr/>
        </p:nvSpPr>
        <p:spPr>
          <a:xfrm>
            <a:off x="294968" y="870157"/>
            <a:ext cx="11312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Binwas</a:t>
            </a:r>
            <a:r>
              <a:rPr lang="en-US" dirty="0"/>
              <a:t> </a:t>
            </a:r>
            <a:r>
              <a:rPr lang="en-US" dirty="0" err="1"/>
              <a:t>dilakukan</a:t>
            </a:r>
            <a:r>
              <a:rPr lang="en-US" dirty="0"/>
              <a:t> </a:t>
            </a:r>
            <a:r>
              <a:rPr lang="en-US" dirty="0" err="1"/>
              <a:t>secara</a:t>
            </a:r>
            <a:r>
              <a:rPr lang="en-US" dirty="0"/>
              <a:t> </a:t>
            </a:r>
            <a:r>
              <a:rPr lang="en-US" dirty="0" err="1"/>
              <a:t>berjenjang</a:t>
            </a:r>
            <a:r>
              <a:rPr lang="en-US" dirty="0"/>
              <a:t>. </a:t>
            </a:r>
            <a:r>
              <a:rPr lang="en-US" dirty="0" err="1"/>
              <a:t>Pemerintah</a:t>
            </a:r>
            <a:r>
              <a:rPr lang="en-US" dirty="0"/>
              <a:t> Pusat </a:t>
            </a:r>
            <a:r>
              <a:rPr lang="en-US" dirty="0" err="1"/>
              <a:t>kepada</a:t>
            </a:r>
            <a:r>
              <a:rPr lang="en-US" dirty="0"/>
              <a:t> GWPP; GWPP </a:t>
            </a:r>
            <a:r>
              <a:rPr lang="en-US" dirty="0" err="1"/>
              <a:t>kepada</a:t>
            </a:r>
            <a:r>
              <a:rPr lang="en-US" dirty="0"/>
              <a:t> </a:t>
            </a:r>
            <a:r>
              <a:rPr lang="en-US" dirty="0" err="1"/>
              <a:t>Bupati</a:t>
            </a:r>
            <a:r>
              <a:rPr lang="en-US" dirty="0"/>
              <a:t>/</a:t>
            </a:r>
            <a:r>
              <a:rPr lang="en-US" dirty="0" err="1"/>
              <a:t>Wali</a:t>
            </a:r>
            <a:r>
              <a:rPr lang="en-US" dirty="0"/>
              <a:t> Kota; </a:t>
            </a:r>
          </a:p>
          <a:p>
            <a:pPr algn="ctr"/>
            <a:r>
              <a:rPr lang="en-US" dirty="0"/>
              <a:t>dan </a:t>
            </a:r>
            <a:r>
              <a:rPr lang="en-US" dirty="0" err="1"/>
              <a:t>Bupati</a:t>
            </a:r>
            <a:r>
              <a:rPr lang="en-US" dirty="0"/>
              <a:t>/</a:t>
            </a:r>
            <a:r>
              <a:rPr lang="en-US" dirty="0" err="1"/>
              <a:t>Wali</a:t>
            </a:r>
            <a:r>
              <a:rPr lang="en-US" dirty="0"/>
              <a:t> Kota </a:t>
            </a:r>
            <a:r>
              <a:rPr lang="en-US" dirty="0" err="1"/>
              <a:t>kepada</a:t>
            </a:r>
            <a:r>
              <a:rPr lang="en-US" dirty="0"/>
              <a:t> </a:t>
            </a:r>
            <a:r>
              <a:rPr lang="en-US" dirty="0" err="1"/>
              <a:t>Camat</a:t>
            </a:r>
            <a:endParaRPr lang="en-US" dirty="0"/>
          </a:p>
          <a:p>
            <a:pPr algn="ctr"/>
            <a:endParaRPr lang="en-ID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A0C981-BD8D-454A-B154-B5C23BE61528}"/>
              </a:ext>
            </a:extLst>
          </p:cNvPr>
          <p:cNvSpPr txBox="1"/>
          <p:nvPr/>
        </p:nvSpPr>
        <p:spPr>
          <a:xfrm>
            <a:off x="294968" y="1793487"/>
            <a:ext cx="3952567" cy="646331"/>
          </a:xfrm>
          <a:prstGeom prst="rect">
            <a:avLst/>
          </a:prstGeom>
          <a:solidFill>
            <a:srgbClr val="1D8164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</a:rPr>
              <a:t>Pemerintah</a:t>
            </a:r>
            <a:r>
              <a:rPr lang="en-US" b="1" dirty="0">
                <a:solidFill>
                  <a:schemeClr val="bg1"/>
                </a:solidFill>
              </a:rPr>
              <a:t> Pusat </a:t>
            </a:r>
            <a:r>
              <a:rPr lang="en-US" b="1" dirty="0" err="1">
                <a:solidFill>
                  <a:schemeClr val="bg1"/>
                </a:solidFill>
              </a:rPr>
              <a:t>Kepada</a:t>
            </a:r>
            <a:r>
              <a:rPr lang="en-US" b="1" dirty="0">
                <a:solidFill>
                  <a:schemeClr val="bg1"/>
                </a:solidFill>
              </a:rPr>
              <a:t> GWPP dan</a:t>
            </a:r>
          </a:p>
          <a:p>
            <a:r>
              <a:rPr lang="en-US" b="1" dirty="0">
                <a:solidFill>
                  <a:schemeClr val="bg1"/>
                </a:solidFill>
              </a:rPr>
              <a:t>GWPP </a:t>
            </a:r>
            <a:r>
              <a:rPr lang="en-US" b="1" dirty="0" err="1">
                <a:solidFill>
                  <a:schemeClr val="bg1"/>
                </a:solidFill>
              </a:rPr>
              <a:t>Kepad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Bup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Walkot</a:t>
            </a:r>
            <a:endParaRPr lang="en-ID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F3AE47-DC1C-4945-86B3-A6CFCE2B7EF5}"/>
              </a:ext>
            </a:extLst>
          </p:cNvPr>
          <p:cNvSpPr txBox="1"/>
          <p:nvPr/>
        </p:nvSpPr>
        <p:spPr>
          <a:xfrm>
            <a:off x="294969" y="2444258"/>
            <a:ext cx="5029200" cy="584775"/>
          </a:xfrm>
          <a:prstGeom prst="rect">
            <a:avLst/>
          </a:prstGeom>
          <a:solidFill>
            <a:srgbClr val="83E5C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sz="1600" dirty="0" err="1"/>
              <a:t>Dilakukan</a:t>
            </a:r>
            <a:r>
              <a:rPr lang="en-US" sz="1600" dirty="0"/>
              <a:t> </a:t>
            </a:r>
            <a:r>
              <a:rPr lang="en-US" sz="1600" dirty="0" err="1"/>
              <a:t>sesuai</a:t>
            </a:r>
            <a:r>
              <a:rPr lang="en-US" sz="1600" dirty="0"/>
              <a:t> </a:t>
            </a:r>
            <a:r>
              <a:rPr lang="en-US" sz="1600" dirty="0" err="1"/>
              <a:t>dengan</a:t>
            </a:r>
            <a:r>
              <a:rPr lang="en-US" sz="1600" dirty="0"/>
              <a:t> </a:t>
            </a:r>
            <a:r>
              <a:rPr lang="en-US" sz="1600" dirty="0" err="1"/>
              <a:t>ketentuan</a:t>
            </a:r>
            <a:r>
              <a:rPr lang="en-US" sz="1600" dirty="0"/>
              <a:t> </a:t>
            </a:r>
            <a:r>
              <a:rPr lang="en-US" sz="1600" dirty="0" err="1"/>
              <a:t>peraturan</a:t>
            </a:r>
            <a:r>
              <a:rPr lang="en-US" sz="1600" dirty="0"/>
              <a:t> </a:t>
            </a:r>
            <a:r>
              <a:rPr lang="en-US" sz="1600" dirty="0" err="1"/>
              <a:t>perundang-undangan</a:t>
            </a:r>
            <a:endParaRPr lang="en-ID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350889-8296-425F-9AE1-8AA64E4EBA7E}"/>
              </a:ext>
            </a:extLst>
          </p:cNvPr>
          <p:cNvSpPr txBox="1"/>
          <p:nvPr/>
        </p:nvSpPr>
        <p:spPr>
          <a:xfrm>
            <a:off x="6700687" y="1783659"/>
            <a:ext cx="5029200" cy="464871"/>
          </a:xfrm>
          <a:prstGeom prst="rect">
            <a:avLst/>
          </a:prstGeom>
          <a:solidFill>
            <a:srgbClr val="EB5232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b="1" dirty="0" err="1">
                <a:solidFill>
                  <a:schemeClr val="bg1"/>
                </a:solidFill>
              </a:rPr>
              <a:t>Bupati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Wali</a:t>
            </a:r>
            <a:r>
              <a:rPr lang="en-US" b="1" dirty="0">
                <a:solidFill>
                  <a:schemeClr val="bg1"/>
                </a:solidFill>
              </a:rPr>
              <a:t> Kota </a:t>
            </a:r>
            <a:r>
              <a:rPr lang="en-US" b="1" dirty="0" err="1">
                <a:solidFill>
                  <a:schemeClr val="bg1"/>
                </a:solidFill>
              </a:rPr>
              <a:t>Kepad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Camat</a:t>
            </a:r>
            <a:endParaRPr lang="en-ID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C47B18-F601-481B-80C5-0A0C2CDF8215}"/>
              </a:ext>
            </a:extLst>
          </p:cNvPr>
          <p:cNvSpPr txBox="1"/>
          <p:nvPr/>
        </p:nvSpPr>
        <p:spPr>
          <a:xfrm>
            <a:off x="5737123" y="2272202"/>
            <a:ext cx="5992765" cy="329320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sz="1600" dirty="0" err="1"/>
              <a:t>Pembinaan</a:t>
            </a:r>
            <a:r>
              <a:rPr lang="en-US" sz="1600" dirty="0"/>
              <a:t> :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600" dirty="0" err="1"/>
              <a:t>Sosialisasi</a:t>
            </a:r>
            <a:r>
              <a:rPr lang="en-ID" sz="1600" dirty="0"/>
              <a:t>; 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600" dirty="0" err="1"/>
              <a:t>Pendampingan</a:t>
            </a:r>
            <a:r>
              <a:rPr lang="en-ID" sz="1600" dirty="0"/>
              <a:t>;  dan/</a:t>
            </a:r>
            <a:r>
              <a:rPr lang="en-ID" sz="1600" dirty="0" err="1"/>
              <a:t>atau</a:t>
            </a:r>
            <a:endParaRPr lang="en-ID" sz="1600" dirty="0"/>
          </a:p>
          <a:p>
            <a:pPr marL="342900" indent="-342900">
              <a:buFont typeface="+mj-lt"/>
              <a:buAutoNum type="alphaLcPeriod"/>
            </a:pPr>
            <a:r>
              <a:rPr lang="en-ID" sz="1600" dirty="0" err="1"/>
              <a:t>Konsultasi</a:t>
            </a:r>
            <a:r>
              <a:rPr lang="en-ID" sz="1600" dirty="0"/>
              <a:t> </a:t>
            </a:r>
            <a:r>
              <a:rPr lang="en-ID" sz="1600" dirty="0" err="1"/>
              <a:t>berupa</a:t>
            </a:r>
            <a:r>
              <a:rPr lang="en-ID" sz="1600" dirty="0"/>
              <a:t> </a:t>
            </a:r>
            <a:r>
              <a:rPr lang="en-ID" sz="1600" dirty="0" err="1"/>
              <a:t>penyediaan</a:t>
            </a:r>
            <a:r>
              <a:rPr lang="en-ID" sz="1600" dirty="0"/>
              <a:t> </a:t>
            </a:r>
            <a:r>
              <a:rPr lang="en-ID" sz="1600" dirty="0" err="1"/>
              <a:t>ruang</a:t>
            </a:r>
            <a:r>
              <a:rPr lang="en-ID" sz="1600" dirty="0"/>
              <a:t> </a:t>
            </a:r>
            <a:r>
              <a:rPr lang="en-ID" sz="1600" dirty="0" err="1"/>
              <a:t>komunikasi</a:t>
            </a:r>
            <a:r>
              <a:rPr lang="en-ID" sz="1600" dirty="0"/>
              <a:t> </a:t>
            </a:r>
            <a:r>
              <a:rPr lang="en-ID" sz="1600" dirty="0" err="1"/>
              <a:t>interaktif</a:t>
            </a:r>
            <a:r>
              <a:rPr lang="en-ID" sz="1600" dirty="0"/>
              <a:t> </a:t>
            </a:r>
            <a:r>
              <a:rPr lang="en-ID" sz="1600" dirty="0" err="1"/>
              <a:t>untuk</a:t>
            </a:r>
            <a:r>
              <a:rPr lang="en-ID" sz="1600" dirty="0"/>
              <a:t> </a:t>
            </a:r>
            <a:r>
              <a:rPr lang="en-ID" sz="1600" dirty="0" err="1"/>
              <a:t>penjelasan</a:t>
            </a:r>
            <a:r>
              <a:rPr lang="en-ID" sz="1600" dirty="0"/>
              <a:t> </a:t>
            </a:r>
            <a:r>
              <a:rPr lang="en-ID" sz="1600" dirty="0" err="1"/>
              <a:t>kebijakan</a:t>
            </a:r>
            <a:r>
              <a:rPr lang="en-ID" sz="1600" dirty="0"/>
              <a:t> dan/</a:t>
            </a:r>
            <a:r>
              <a:rPr lang="en-ID" sz="1600" dirty="0" err="1"/>
              <a:t>atau</a:t>
            </a:r>
            <a:r>
              <a:rPr lang="en-ID" sz="1600" dirty="0"/>
              <a:t> </a:t>
            </a:r>
            <a:r>
              <a:rPr lang="en-ID" sz="1600" dirty="0" err="1"/>
              <a:t>penyelesaian</a:t>
            </a:r>
            <a:r>
              <a:rPr lang="en-ID" sz="1600" dirty="0"/>
              <a:t> </a:t>
            </a:r>
            <a:r>
              <a:rPr lang="en-ID" sz="1600" dirty="0" err="1"/>
              <a:t>permasalahan</a:t>
            </a:r>
            <a:r>
              <a:rPr lang="en-ID" sz="1600" dirty="0"/>
              <a:t> </a:t>
            </a:r>
            <a:r>
              <a:rPr lang="en-ID" sz="1600" dirty="0" err="1"/>
              <a:t>kebijakan</a:t>
            </a:r>
            <a:endParaRPr lang="en-ID" sz="1600" dirty="0"/>
          </a:p>
          <a:p>
            <a:endParaRPr lang="en-ID" sz="1600" dirty="0"/>
          </a:p>
          <a:p>
            <a:r>
              <a:rPr lang="en-ID" sz="1600" dirty="0" err="1"/>
              <a:t>Pengawasan</a:t>
            </a:r>
            <a:r>
              <a:rPr lang="en-ID" sz="1600" dirty="0"/>
              <a:t>: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600" dirty="0" err="1"/>
              <a:t>reviu</a:t>
            </a:r>
            <a:r>
              <a:rPr lang="en-ID" sz="1600" dirty="0"/>
              <a:t> </a:t>
            </a:r>
            <a:r>
              <a:rPr lang="en-ID" sz="1600" dirty="0" err="1"/>
              <a:t>diantaranya</a:t>
            </a:r>
            <a:r>
              <a:rPr lang="en-ID" sz="1600" dirty="0"/>
              <a:t> </a:t>
            </a:r>
            <a:r>
              <a:rPr lang="en-ID" sz="1600" dirty="0" err="1"/>
              <a:t>mengkaji</a:t>
            </a:r>
            <a:r>
              <a:rPr lang="en-ID" sz="1600" dirty="0"/>
              <a:t> </a:t>
            </a:r>
            <a:r>
              <a:rPr lang="en-ID" sz="1600" dirty="0" err="1"/>
              <a:t>ulang</a:t>
            </a:r>
            <a:r>
              <a:rPr lang="en-ID" sz="1600" dirty="0"/>
              <a:t> </a:t>
            </a:r>
            <a:r>
              <a:rPr lang="en-ID" sz="1600" dirty="0" err="1"/>
              <a:t>kebijakan</a:t>
            </a:r>
            <a:r>
              <a:rPr lang="en-ID" sz="1600" dirty="0"/>
              <a:t> </a:t>
            </a:r>
            <a:r>
              <a:rPr lang="en-ID" sz="1600" dirty="0" err="1"/>
              <a:t>secara</a:t>
            </a:r>
            <a:r>
              <a:rPr lang="en-ID" sz="1600" dirty="0"/>
              <a:t> </a:t>
            </a:r>
            <a:r>
              <a:rPr lang="en-ID" sz="1600" dirty="0" err="1"/>
              <a:t>periodik</a:t>
            </a:r>
            <a:r>
              <a:rPr lang="en-ID" sz="1600" dirty="0"/>
              <a:t>;  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600" dirty="0"/>
              <a:t>monitoring </a:t>
            </a:r>
            <a:r>
              <a:rPr lang="en-ID" sz="1600" dirty="0" err="1"/>
              <a:t>diantaranya</a:t>
            </a:r>
            <a:r>
              <a:rPr lang="en-ID" sz="1600" dirty="0"/>
              <a:t> </a:t>
            </a:r>
            <a:r>
              <a:rPr lang="en-ID" sz="1600" dirty="0" err="1"/>
              <a:t>supervisi</a:t>
            </a:r>
            <a:r>
              <a:rPr lang="en-ID" sz="1600" dirty="0"/>
              <a:t> </a:t>
            </a:r>
            <a:r>
              <a:rPr lang="en-ID" sz="1600" dirty="0" err="1"/>
              <a:t>implementasi</a:t>
            </a:r>
            <a:r>
              <a:rPr lang="en-ID" sz="1600" dirty="0"/>
              <a:t> </a:t>
            </a:r>
            <a:r>
              <a:rPr lang="en-ID" sz="1600" dirty="0" err="1"/>
              <a:t>kebijakan</a:t>
            </a:r>
            <a:r>
              <a:rPr lang="en-ID" sz="1600" dirty="0"/>
              <a:t> di </a:t>
            </a:r>
            <a:r>
              <a:rPr lang="en-ID" sz="1600" dirty="0" err="1"/>
              <a:t>lapangan</a:t>
            </a:r>
            <a:r>
              <a:rPr lang="en-ID" sz="1600" dirty="0"/>
              <a:t>; dan</a:t>
            </a:r>
          </a:p>
          <a:p>
            <a:pPr marL="342900" indent="-342900">
              <a:buFont typeface="+mj-lt"/>
              <a:buAutoNum type="alphaLcPeriod"/>
            </a:pPr>
            <a:r>
              <a:rPr lang="en-ID" sz="1600" dirty="0" err="1"/>
              <a:t>evaluasi</a:t>
            </a:r>
            <a:r>
              <a:rPr lang="en-ID" sz="1600" dirty="0"/>
              <a:t> </a:t>
            </a:r>
            <a:r>
              <a:rPr lang="en-ID" sz="1600" dirty="0" err="1"/>
              <a:t>diantaranya</a:t>
            </a:r>
            <a:r>
              <a:rPr lang="en-ID" sz="1600" dirty="0"/>
              <a:t> </a:t>
            </a:r>
            <a:r>
              <a:rPr lang="en-ID" sz="1600" dirty="0" err="1"/>
              <a:t>pengukuran</a:t>
            </a:r>
            <a:r>
              <a:rPr lang="en-ID" sz="1600" dirty="0"/>
              <a:t> </a:t>
            </a:r>
            <a:r>
              <a:rPr lang="en-ID" sz="1600" dirty="0" err="1"/>
              <a:t>capaian</a:t>
            </a:r>
            <a:r>
              <a:rPr lang="en-ID" sz="1600" dirty="0"/>
              <a:t> </a:t>
            </a:r>
            <a:r>
              <a:rPr lang="en-ID" sz="1600" dirty="0" err="1"/>
              <a:t>kinerja</a:t>
            </a:r>
            <a:r>
              <a:rPr lang="en-ID" sz="1600" dirty="0"/>
              <a:t> </a:t>
            </a:r>
            <a:r>
              <a:rPr lang="en-ID" sz="1600" dirty="0" err="1"/>
              <a:t>penyelenggara</a:t>
            </a:r>
            <a:r>
              <a:rPr lang="en-ID" sz="1600" dirty="0"/>
              <a:t> </a:t>
            </a:r>
            <a:r>
              <a:rPr lang="en-ID" sz="1600" dirty="0" err="1"/>
              <a:t>pelimpahan</a:t>
            </a:r>
            <a:r>
              <a:rPr lang="en-ID" sz="1600" dirty="0"/>
              <a:t> </a:t>
            </a:r>
            <a:r>
              <a:rPr lang="en-ID" sz="1600" dirty="0" err="1"/>
              <a:t>kewenangan</a:t>
            </a:r>
            <a:r>
              <a:rPr lang="en-ID" sz="1600" dirty="0"/>
              <a:t> </a:t>
            </a:r>
            <a:r>
              <a:rPr lang="en-ID" sz="1600" dirty="0" err="1"/>
              <a:t>secara</a:t>
            </a:r>
            <a:r>
              <a:rPr lang="en-ID" sz="1600" dirty="0"/>
              <a:t> </a:t>
            </a:r>
            <a:r>
              <a:rPr lang="en-ID" sz="1600" dirty="0" err="1"/>
              <a:t>periodik</a:t>
            </a:r>
            <a:endParaRPr lang="en-ID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1003F78-AC93-D237-1467-80C8896AD3B5}"/>
              </a:ext>
            </a:extLst>
          </p:cNvPr>
          <p:cNvSpPr txBox="1"/>
          <p:nvPr/>
        </p:nvSpPr>
        <p:spPr>
          <a:xfrm>
            <a:off x="324459" y="3426580"/>
            <a:ext cx="4409768" cy="31393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D" b="1" dirty="0" err="1"/>
              <a:t>Pendanaan</a:t>
            </a:r>
            <a:r>
              <a:rPr lang="en-ID" b="1" dirty="0"/>
              <a:t> </a:t>
            </a:r>
            <a:r>
              <a:rPr lang="en-ID" b="1" dirty="0" err="1"/>
              <a:t>Pelimpahan</a:t>
            </a:r>
            <a:r>
              <a:rPr lang="en-ID" b="1" dirty="0"/>
              <a:t> </a:t>
            </a:r>
            <a:r>
              <a:rPr lang="en-ID" b="1" dirty="0" err="1"/>
              <a:t>Kewenangan</a:t>
            </a:r>
            <a:r>
              <a:rPr lang="en-ID" b="1"/>
              <a:t>   </a:t>
            </a:r>
            <a:r>
              <a:rPr lang="en-ID" b="1" dirty="0" err="1"/>
              <a:t>bersumber</a:t>
            </a:r>
            <a:r>
              <a:rPr lang="en-ID" b="1" dirty="0"/>
              <a:t> </a:t>
            </a:r>
            <a:r>
              <a:rPr lang="en-ID" b="1" dirty="0" err="1"/>
              <a:t>dari</a:t>
            </a:r>
            <a:r>
              <a:rPr lang="en-ID" b="1" dirty="0"/>
              <a:t>:</a:t>
            </a:r>
          </a:p>
          <a:p>
            <a:pPr marL="342900" indent="-342900">
              <a:buAutoNum type="alphaLcPeriod"/>
            </a:pPr>
            <a:r>
              <a:rPr lang="en-ID" dirty="0" err="1"/>
              <a:t>anggaran</a:t>
            </a:r>
            <a:r>
              <a:rPr lang="en-ID" dirty="0"/>
              <a:t> </a:t>
            </a:r>
            <a:r>
              <a:rPr lang="en-ID" dirty="0" err="1"/>
              <a:t>pendapatan</a:t>
            </a:r>
            <a:r>
              <a:rPr lang="en-ID" dirty="0"/>
              <a:t> dan </a:t>
            </a:r>
            <a:r>
              <a:rPr lang="en-ID" dirty="0" err="1"/>
              <a:t>belanja</a:t>
            </a:r>
            <a:r>
              <a:rPr lang="en-ID" dirty="0"/>
              <a:t> negara;</a:t>
            </a:r>
          </a:p>
          <a:p>
            <a:pPr marL="342900" indent="-342900">
              <a:buAutoNum type="alphaLcPeriod"/>
            </a:pPr>
            <a:r>
              <a:rPr lang="en-ID" dirty="0" err="1"/>
              <a:t>anggaran</a:t>
            </a:r>
            <a:r>
              <a:rPr lang="en-ID" dirty="0"/>
              <a:t> </a:t>
            </a:r>
            <a:r>
              <a:rPr lang="en-ID" dirty="0" err="1"/>
              <a:t>pendapatan</a:t>
            </a:r>
            <a:r>
              <a:rPr lang="en-ID" dirty="0"/>
              <a:t> dan </a:t>
            </a:r>
            <a:r>
              <a:rPr lang="en-ID" dirty="0" err="1"/>
              <a:t>belanja</a:t>
            </a:r>
            <a:r>
              <a:rPr lang="en-ID" dirty="0"/>
              <a:t> </a:t>
            </a:r>
            <a:r>
              <a:rPr lang="en-ID" dirty="0" err="1"/>
              <a:t>daerah</a:t>
            </a:r>
            <a:r>
              <a:rPr lang="en-ID" dirty="0"/>
              <a:t> </a:t>
            </a:r>
            <a:r>
              <a:rPr lang="en-ID" dirty="0" err="1"/>
              <a:t>provinsi</a:t>
            </a:r>
            <a:r>
              <a:rPr lang="en-ID" dirty="0"/>
              <a:t>;</a:t>
            </a:r>
          </a:p>
          <a:p>
            <a:pPr marL="342900" indent="-342900">
              <a:buAutoNum type="alphaLcPeriod"/>
            </a:pPr>
            <a:r>
              <a:rPr lang="en-ID" dirty="0" err="1"/>
              <a:t>anggaran</a:t>
            </a:r>
            <a:r>
              <a:rPr lang="en-ID" dirty="0"/>
              <a:t> </a:t>
            </a:r>
            <a:r>
              <a:rPr lang="en-ID" dirty="0" err="1"/>
              <a:t>pendapatan</a:t>
            </a:r>
            <a:r>
              <a:rPr lang="en-ID" dirty="0"/>
              <a:t> dan </a:t>
            </a:r>
            <a:r>
              <a:rPr lang="en-ID" dirty="0" err="1"/>
              <a:t>belanja</a:t>
            </a:r>
            <a:r>
              <a:rPr lang="en-ID" dirty="0"/>
              <a:t> </a:t>
            </a:r>
            <a:r>
              <a:rPr lang="en-ID" dirty="0" err="1"/>
              <a:t>daerah</a:t>
            </a:r>
            <a:r>
              <a:rPr lang="en-ID" dirty="0"/>
              <a:t> </a:t>
            </a:r>
            <a:r>
              <a:rPr lang="en-ID" dirty="0" err="1"/>
              <a:t>kabupaten</a:t>
            </a:r>
            <a:r>
              <a:rPr lang="en-ID" dirty="0"/>
              <a:t>/</a:t>
            </a:r>
            <a:r>
              <a:rPr lang="en-ID" dirty="0" err="1"/>
              <a:t>kota</a:t>
            </a:r>
            <a:r>
              <a:rPr lang="en-ID" dirty="0"/>
              <a:t>; dan</a:t>
            </a:r>
          </a:p>
          <a:p>
            <a:pPr marL="342900" indent="-342900">
              <a:buAutoNum type="alphaLcPeriod"/>
            </a:pPr>
            <a:r>
              <a:rPr lang="en-ID" dirty="0" err="1"/>
              <a:t>sumber</a:t>
            </a:r>
            <a:r>
              <a:rPr lang="en-ID" dirty="0"/>
              <a:t> </a:t>
            </a:r>
            <a:r>
              <a:rPr lang="en-ID" dirty="0" err="1"/>
              <a:t>pendapatan</a:t>
            </a:r>
            <a:r>
              <a:rPr lang="en-ID" dirty="0"/>
              <a:t> lain yang </a:t>
            </a:r>
            <a:r>
              <a:rPr lang="en-ID" dirty="0" err="1"/>
              <a:t>sah</a:t>
            </a:r>
            <a:r>
              <a:rPr lang="en-ID" dirty="0"/>
              <a:t> dan </a:t>
            </a:r>
            <a:r>
              <a:rPr lang="en-ID" dirty="0" err="1"/>
              <a:t>tidak</a:t>
            </a:r>
            <a:r>
              <a:rPr lang="en-ID" dirty="0"/>
              <a:t> </a:t>
            </a:r>
            <a:r>
              <a:rPr lang="en-ID" dirty="0" err="1"/>
              <a:t>mengikat</a:t>
            </a:r>
            <a:r>
              <a:rPr lang="en-ID" dirty="0"/>
              <a:t> </a:t>
            </a:r>
            <a:r>
              <a:rPr lang="en-ID" dirty="0" err="1"/>
              <a:t>sesuai</a:t>
            </a:r>
            <a:r>
              <a:rPr lang="en-ID" dirty="0"/>
              <a:t> </a:t>
            </a:r>
            <a:r>
              <a:rPr lang="en-ID" dirty="0" err="1"/>
              <a:t>dengan</a:t>
            </a:r>
            <a:r>
              <a:rPr lang="en-ID" dirty="0"/>
              <a:t> </a:t>
            </a:r>
            <a:r>
              <a:rPr lang="en-ID" dirty="0" err="1"/>
              <a:t>ketentuan</a:t>
            </a:r>
            <a:r>
              <a:rPr lang="en-ID" dirty="0"/>
              <a:t> </a:t>
            </a:r>
            <a:r>
              <a:rPr lang="en-ID" dirty="0" err="1"/>
              <a:t>peraturan</a:t>
            </a:r>
            <a:r>
              <a:rPr lang="en-ID" dirty="0"/>
              <a:t> </a:t>
            </a:r>
            <a:r>
              <a:rPr lang="en-ID" dirty="0" err="1"/>
              <a:t>perundang-undangan</a:t>
            </a:r>
            <a:r>
              <a:rPr lang="en-ID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19718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B163B9CA-B626-4FC8-9BEA-AD5062A97125}"/>
              </a:ext>
            </a:extLst>
          </p:cNvPr>
          <p:cNvSpPr>
            <a:spLocks/>
          </p:cNvSpPr>
          <p:nvPr/>
        </p:nvSpPr>
        <p:spPr bwMode="auto">
          <a:xfrm flipH="1">
            <a:off x="3149600" y="-2419093"/>
            <a:ext cx="9042400" cy="9277092"/>
          </a:xfrm>
          <a:custGeom>
            <a:avLst/>
            <a:gdLst>
              <a:gd name="T0" fmla="*/ 687 w 1433"/>
              <a:gd name="T1" fmla="*/ 1323 h 1472"/>
              <a:gd name="T2" fmla="*/ 0 w 1433"/>
              <a:gd name="T3" fmla="*/ 1472 h 1472"/>
              <a:gd name="T4" fmla="*/ 0 w 1433"/>
              <a:gd name="T5" fmla="*/ 0 h 1472"/>
              <a:gd name="T6" fmla="*/ 106 w 1433"/>
              <a:gd name="T7" fmla="*/ 0 h 1472"/>
              <a:gd name="T8" fmla="*/ 116 w 1433"/>
              <a:gd name="T9" fmla="*/ 23 h 1472"/>
              <a:gd name="T10" fmla="*/ 317 w 1433"/>
              <a:gd name="T11" fmla="*/ 182 h 1472"/>
              <a:gd name="T12" fmla="*/ 612 w 1433"/>
              <a:gd name="T13" fmla="*/ 234 h 1472"/>
              <a:gd name="T14" fmla="*/ 1414 w 1433"/>
              <a:gd name="T15" fmla="*/ 763 h 1472"/>
              <a:gd name="T16" fmla="*/ 687 w 1433"/>
              <a:gd name="T17" fmla="*/ 1323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33" h="1472">
                <a:moveTo>
                  <a:pt x="687" y="1323"/>
                </a:moveTo>
                <a:cubicBezTo>
                  <a:pt x="247" y="1226"/>
                  <a:pt x="0" y="1472"/>
                  <a:pt x="0" y="1472"/>
                </a:cubicBezTo>
                <a:cubicBezTo>
                  <a:pt x="0" y="0"/>
                  <a:pt x="0" y="0"/>
                  <a:pt x="0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0"/>
                  <a:pt x="108" y="9"/>
                  <a:pt x="116" y="23"/>
                </a:cubicBezTo>
                <a:cubicBezTo>
                  <a:pt x="136" y="59"/>
                  <a:pt x="189" y="132"/>
                  <a:pt x="317" y="182"/>
                </a:cubicBezTo>
                <a:cubicBezTo>
                  <a:pt x="389" y="210"/>
                  <a:pt x="485" y="231"/>
                  <a:pt x="612" y="234"/>
                </a:cubicBezTo>
                <a:cubicBezTo>
                  <a:pt x="1048" y="246"/>
                  <a:pt x="1394" y="435"/>
                  <a:pt x="1414" y="763"/>
                </a:cubicBezTo>
                <a:cubicBezTo>
                  <a:pt x="1433" y="1091"/>
                  <a:pt x="1127" y="1420"/>
                  <a:pt x="687" y="1323"/>
                </a:cubicBezTo>
                <a:close/>
              </a:path>
            </a:pathLst>
          </a:custGeom>
          <a:gradFill>
            <a:gsLst>
              <a:gs pos="0">
                <a:srgbClr val="CBEBE1"/>
              </a:gs>
              <a:gs pos="71000">
                <a:srgbClr val="26AA83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0EEE9969-D21B-4551-854D-C6F52627DDBF}"/>
              </a:ext>
            </a:extLst>
          </p:cNvPr>
          <p:cNvSpPr>
            <a:spLocks/>
          </p:cNvSpPr>
          <p:nvPr/>
        </p:nvSpPr>
        <p:spPr bwMode="auto">
          <a:xfrm flipV="1">
            <a:off x="0" y="2219453"/>
            <a:ext cx="6299200" cy="6462693"/>
          </a:xfrm>
          <a:custGeom>
            <a:avLst/>
            <a:gdLst>
              <a:gd name="T0" fmla="*/ 687 w 1433"/>
              <a:gd name="T1" fmla="*/ 1323 h 1472"/>
              <a:gd name="T2" fmla="*/ 0 w 1433"/>
              <a:gd name="T3" fmla="*/ 1472 h 1472"/>
              <a:gd name="T4" fmla="*/ 0 w 1433"/>
              <a:gd name="T5" fmla="*/ 0 h 1472"/>
              <a:gd name="T6" fmla="*/ 106 w 1433"/>
              <a:gd name="T7" fmla="*/ 0 h 1472"/>
              <a:gd name="T8" fmla="*/ 116 w 1433"/>
              <a:gd name="T9" fmla="*/ 23 h 1472"/>
              <a:gd name="T10" fmla="*/ 317 w 1433"/>
              <a:gd name="T11" fmla="*/ 182 h 1472"/>
              <a:gd name="T12" fmla="*/ 612 w 1433"/>
              <a:gd name="T13" fmla="*/ 234 h 1472"/>
              <a:gd name="T14" fmla="*/ 1414 w 1433"/>
              <a:gd name="T15" fmla="*/ 763 h 1472"/>
              <a:gd name="T16" fmla="*/ 687 w 1433"/>
              <a:gd name="T17" fmla="*/ 1323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33" h="1472">
                <a:moveTo>
                  <a:pt x="687" y="1323"/>
                </a:moveTo>
                <a:cubicBezTo>
                  <a:pt x="247" y="1226"/>
                  <a:pt x="0" y="1472"/>
                  <a:pt x="0" y="1472"/>
                </a:cubicBezTo>
                <a:cubicBezTo>
                  <a:pt x="0" y="0"/>
                  <a:pt x="0" y="0"/>
                  <a:pt x="0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0"/>
                  <a:pt x="108" y="9"/>
                  <a:pt x="116" y="23"/>
                </a:cubicBezTo>
                <a:cubicBezTo>
                  <a:pt x="136" y="59"/>
                  <a:pt x="189" y="132"/>
                  <a:pt x="317" y="182"/>
                </a:cubicBezTo>
                <a:cubicBezTo>
                  <a:pt x="389" y="210"/>
                  <a:pt x="485" y="231"/>
                  <a:pt x="612" y="234"/>
                </a:cubicBezTo>
                <a:cubicBezTo>
                  <a:pt x="1048" y="246"/>
                  <a:pt x="1394" y="435"/>
                  <a:pt x="1414" y="763"/>
                </a:cubicBezTo>
                <a:cubicBezTo>
                  <a:pt x="1433" y="1091"/>
                  <a:pt x="1127" y="1420"/>
                  <a:pt x="687" y="1323"/>
                </a:cubicBezTo>
                <a:close/>
              </a:path>
            </a:pathLst>
          </a:custGeom>
          <a:gradFill>
            <a:gsLst>
              <a:gs pos="0">
                <a:srgbClr val="F8B7AA"/>
              </a:gs>
              <a:gs pos="51000">
                <a:srgbClr val="EB5232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F930A7-550A-4D24-9D9E-268AD520232F}"/>
              </a:ext>
            </a:extLst>
          </p:cNvPr>
          <p:cNvSpPr txBox="1"/>
          <p:nvPr/>
        </p:nvSpPr>
        <p:spPr>
          <a:xfrm>
            <a:off x="2901950" y="2197897"/>
            <a:ext cx="6388100" cy="246221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b="1" dirty="0">
                <a:solidFill>
                  <a:schemeClr val="bg1"/>
                </a:solidFill>
                <a:latin typeface="+mj-lt"/>
              </a:rPr>
              <a:t>TERIMA KASIH</a:t>
            </a:r>
            <a:endParaRPr lang="id-ID" sz="80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D275205-DE2E-4A19-A41D-6348169134E4}"/>
              </a:ext>
            </a:extLst>
          </p:cNvPr>
          <p:cNvGrpSpPr/>
          <p:nvPr/>
        </p:nvGrpSpPr>
        <p:grpSpPr>
          <a:xfrm>
            <a:off x="6603876" y="-1713841"/>
            <a:ext cx="2824788" cy="2820195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25E66DF1-0ECE-41A4-B610-F26F25D87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4D7AFE9-6B6D-4F58-8E97-42C8D4D30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B51E4CB-40F6-4999-86C3-9AA7803CF4A7}"/>
              </a:ext>
            </a:extLst>
          </p:cNvPr>
          <p:cNvGrpSpPr/>
          <p:nvPr/>
        </p:nvGrpSpPr>
        <p:grpSpPr>
          <a:xfrm>
            <a:off x="9428664" y="-930474"/>
            <a:ext cx="4366574" cy="4359474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573D84-65AD-4FDF-8784-92C82547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65C26B95-C0EF-42EB-BA6C-9984D29954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982A0E-46FA-4C41-B5CA-15BC64C7D565}"/>
              </a:ext>
            </a:extLst>
          </p:cNvPr>
          <p:cNvGrpSpPr/>
          <p:nvPr/>
        </p:nvGrpSpPr>
        <p:grpSpPr>
          <a:xfrm>
            <a:off x="-1179804" y="3092522"/>
            <a:ext cx="4366574" cy="4359474"/>
            <a:chOff x="9614862" y="3675063"/>
            <a:chExt cx="1952625" cy="1949450"/>
          </a:xfrm>
          <a:solidFill>
            <a:schemeClr val="bg1">
              <a:alpha val="6000"/>
            </a:schemeClr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AED4E1C9-B06C-4D3C-87FE-23CC33A7F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CE2DF4E-F450-4925-842B-E8093AEB1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1D796A05-699F-49E4-A55B-71856D1E1C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1397" y="913954"/>
            <a:ext cx="2219589" cy="317084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B8B6946-F0AD-436E-901F-10769FB31857}"/>
              </a:ext>
            </a:extLst>
          </p:cNvPr>
          <p:cNvSpPr/>
          <p:nvPr/>
        </p:nvSpPr>
        <p:spPr>
          <a:xfrm>
            <a:off x="0" y="5864147"/>
            <a:ext cx="12192000" cy="5658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4D6294F-5966-41FA-8C5F-251804AF8AEC}"/>
              </a:ext>
            </a:extLst>
          </p:cNvPr>
          <p:cNvGrpSpPr/>
          <p:nvPr/>
        </p:nvGrpSpPr>
        <p:grpSpPr>
          <a:xfrm>
            <a:off x="9285364" y="5959553"/>
            <a:ext cx="2768513" cy="376644"/>
            <a:chOff x="719818" y="5472615"/>
            <a:chExt cx="2768513" cy="376644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32DEC77-912C-420B-A467-E17E32CD0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818" y="5472615"/>
              <a:ext cx="376644" cy="376644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2265080-16F7-4D56-B01D-520462CE98B4}"/>
                </a:ext>
              </a:extLst>
            </p:cNvPr>
            <p:cNvSpPr txBox="1"/>
            <p:nvPr/>
          </p:nvSpPr>
          <p:spPr>
            <a:xfrm>
              <a:off x="1097724" y="5491374"/>
              <a:ext cx="2390607" cy="323165"/>
            </a:xfrm>
            <a:prstGeom prst="rect">
              <a:avLst/>
            </a:prstGeom>
            <a:solidFill>
              <a:srgbClr val="6143BD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50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rPr>
                <a:t>Kecamatan_kemendagri</a:t>
              </a:r>
              <a:endParaRPr kumimoji="0" lang="ko-KR" altLang="en-US" sz="15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F323FF8-7B40-447E-9B58-939B013B172B}"/>
              </a:ext>
            </a:extLst>
          </p:cNvPr>
          <p:cNvGrpSpPr/>
          <p:nvPr/>
        </p:nvGrpSpPr>
        <p:grpSpPr>
          <a:xfrm>
            <a:off x="6430732" y="5989757"/>
            <a:ext cx="2736074" cy="323165"/>
            <a:chOff x="759513" y="4743891"/>
            <a:chExt cx="2736074" cy="323165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2EBB7DA-D287-4620-9A0E-1CE2E5F59FC1}"/>
                </a:ext>
              </a:extLst>
            </p:cNvPr>
            <p:cNvSpPr txBox="1"/>
            <p:nvPr/>
          </p:nvSpPr>
          <p:spPr>
            <a:xfrm>
              <a:off x="1104980" y="4743891"/>
              <a:ext cx="2390607" cy="323165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rPr>
                <a:t>@subditkecamatan</a:t>
              </a:r>
              <a:endParaRPr kumimoji="0" lang="ko-KR" alt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0" name="Rounded Rectangle 2">
              <a:extLst>
                <a:ext uri="{FF2B5EF4-FFF2-40B4-BE49-F238E27FC236}">
                  <a16:creationId xmlns:a16="http://schemas.microsoft.com/office/drawing/2014/main" id="{E7ABB125-B83E-4FF8-9AD4-7E6EF89D0959}"/>
                </a:ext>
              </a:extLst>
            </p:cNvPr>
            <p:cNvSpPr/>
            <p:nvPr/>
          </p:nvSpPr>
          <p:spPr>
            <a:xfrm>
              <a:off x="759513" y="4747018"/>
              <a:ext cx="311477" cy="311477"/>
            </a:xfrm>
            <a:custGeom>
              <a:avLst/>
              <a:gdLst/>
              <a:ahLst/>
              <a:cxnLst/>
              <a:rect l="l" t="t" r="r" b="b"/>
              <a:pathLst>
                <a:path w="3960000" h="3960000">
                  <a:moveTo>
                    <a:pt x="3160999" y="1374274"/>
                  </a:moveTo>
                  <a:cubicBezTo>
                    <a:pt x="3161390" y="1371268"/>
                    <a:pt x="3160138" y="1380887"/>
                    <a:pt x="3155132" y="1419362"/>
                  </a:cubicBezTo>
                  <a:cubicBezTo>
                    <a:pt x="3155132" y="1419362"/>
                    <a:pt x="3155131" y="1419362"/>
                    <a:pt x="3155131" y="1419362"/>
                  </a:cubicBezTo>
                  <a:cubicBezTo>
                    <a:pt x="3155133" y="1419346"/>
                    <a:pt x="3160347" y="1379282"/>
                    <a:pt x="3160999" y="1374274"/>
                  </a:cubicBezTo>
                  <a:close/>
                  <a:moveTo>
                    <a:pt x="2538382" y="802616"/>
                  </a:moveTo>
                  <a:cubicBezTo>
                    <a:pt x="2197761" y="802616"/>
                    <a:pt x="1921633" y="1078744"/>
                    <a:pt x="1921633" y="1419365"/>
                  </a:cubicBezTo>
                  <a:cubicBezTo>
                    <a:pt x="1921633" y="1471638"/>
                    <a:pt x="1928136" y="1522392"/>
                    <a:pt x="1942445" y="1570340"/>
                  </a:cubicBezTo>
                  <a:cubicBezTo>
                    <a:pt x="1547199" y="1510736"/>
                    <a:pt x="1173928" y="1425572"/>
                    <a:pt x="752016" y="931012"/>
                  </a:cubicBezTo>
                  <a:cubicBezTo>
                    <a:pt x="555558" y="1323929"/>
                    <a:pt x="701457" y="1569504"/>
                    <a:pt x="934030" y="1745738"/>
                  </a:cubicBezTo>
                  <a:cubicBezTo>
                    <a:pt x="832912" y="1726959"/>
                    <a:pt x="757794" y="1716846"/>
                    <a:pt x="665343" y="1650397"/>
                  </a:cubicBezTo>
                  <a:cubicBezTo>
                    <a:pt x="692788" y="2037537"/>
                    <a:pt x="906583" y="2177657"/>
                    <a:pt x="1111709" y="2257108"/>
                  </a:cubicBezTo>
                  <a:cubicBezTo>
                    <a:pt x="1029370" y="2275887"/>
                    <a:pt x="986032" y="2268664"/>
                    <a:pt x="856023" y="2244108"/>
                  </a:cubicBezTo>
                  <a:cubicBezTo>
                    <a:pt x="968698" y="2582132"/>
                    <a:pt x="1241718" y="2664472"/>
                    <a:pt x="1402064" y="2660137"/>
                  </a:cubicBezTo>
                  <a:cubicBezTo>
                    <a:pt x="1212828" y="2802425"/>
                    <a:pt x="1063318" y="2869598"/>
                    <a:pt x="552668" y="2902822"/>
                  </a:cubicBezTo>
                  <a:cubicBezTo>
                    <a:pt x="978087" y="3213400"/>
                    <a:pt x="1650526" y="3189564"/>
                    <a:pt x="1978439" y="3093502"/>
                  </a:cubicBezTo>
                  <a:cubicBezTo>
                    <a:pt x="2679046" y="2850818"/>
                    <a:pt x="2894283" y="2547463"/>
                    <a:pt x="3053184" y="2031759"/>
                  </a:cubicBezTo>
                  <a:cubicBezTo>
                    <a:pt x="3132291" y="1592391"/>
                    <a:pt x="3116471" y="1716445"/>
                    <a:pt x="3155131" y="1419365"/>
                  </a:cubicBezTo>
                  <a:cubicBezTo>
                    <a:pt x="3155131" y="1419364"/>
                    <a:pt x="3155132" y="1419363"/>
                    <a:pt x="3155132" y="1419362"/>
                  </a:cubicBezTo>
                  <a:cubicBezTo>
                    <a:pt x="3257477" y="1315095"/>
                    <a:pt x="3372036" y="1223751"/>
                    <a:pt x="3407333" y="1117847"/>
                  </a:cubicBezTo>
                  <a:cubicBezTo>
                    <a:pt x="3307709" y="1140260"/>
                    <a:pt x="3221086" y="1197342"/>
                    <a:pt x="3108461" y="1185086"/>
                  </a:cubicBezTo>
                  <a:cubicBezTo>
                    <a:pt x="3188365" y="1141325"/>
                    <a:pt x="3284860" y="1028153"/>
                    <a:pt x="3334650" y="883134"/>
                  </a:cubicBezTo>
                  <a:cubicBezTo>
                    <a:pt x="3225580" y="952795"/>
                    <a:pt x="3152155" y="998691"/>
                    <a:pt x="2995677" y="1008938"/>
                  </a:cubicBezTo>
                  <a:cubicBezTo>
                    <a:pt x="2884471" y="881691"/>
                    <a:pt x="2720661" y="802616"/>
                    <a:pt x="2538382" y="802616"/>
                  </a:cubicBezTo>
                  <a:close/>
                  <a:moveTo>
                    <a:pt x="308009" y="0"/>
                  </a:moveTo>
                  <a:lnTo>
                    <a:pt x="3651991" y="0"/>
                  </a:lnTo>
                  <a:cubicBezTo>
                    <a:pt x="3822100" y="0"/>
                    <a:pt x="3960000" y="137900"/>
                    <a:pt x="3960000" y="308009"/>
                  </a:cubicBezTo>
                  <a:lnTo>
                    <a:pt x="3960000" y="3651991"/>
                  </a:lnTo>
                  <a:cubicBezTo>
                    <a:pt x="3960000" y="3822100"/>
                    <a:pt x="3822100" y="3960000"/>
                    <a:pt x="3651991" y="3960000"/>
                  </a:cubicBezTo>
                  <a:lnTo>
                    <a:pt x="308009" y="3960000"/>
                  </a:lnTo>
                  <a:cubicBezTo>
                    <a:pt x="137900" y="3960000"/>
                    <a:pt x="0" y="3822100"/>
                    <a:pt x="0" y="3651991"/>
                  </a:cubicBezTo>
                  <a:lnTo>
                    <a:pt x="0" y="308009"/>
                  </a:lnTo>
                  <a:cubicBezTo>
                    <a:pt x="0" y="137900"/>
                    <a:pt x="137900" y="0"/>
                    <a:pt x="308009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8D235BB-682E-43A0-BDBA-D4E66C231B58}"/>
              </a:ext>
            </a:extLst>
          </p:cNvPr>
          <p:cNvGrpSpPr/>
          <p:nvPr/>
        </p:nvGrpSpPr>
        <p:grpSpPr>
          <a:xfrm>
            <a:off x="3446902" y="5976577"/>
            <a:ext cx="2706549" cy="323602"/>
            <a:chOff x="789039" y="3951249"/>
            <a:chExt cx="2706549" cy="323602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96D8915-939B-449E-8CC5-E80CC90B189D}"/>
                </a:ext>
              </a:extLst>
            </p:cNvPr>
            <p:cNvSpPr txBox="1"/>
            <p:nvPr/>
          </p:nvSpPr>
          <p:spPr>
            <a:xfrm>
              <a:off x="1129542" y="3951686"/>
              <a:ext cx="2366046" cy="32316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 anchor="ctr">
              <a:spAutoFit/>
            </a:bodyPr>
            <a:lstStyle/>
            <a:p>
              <a:pPr>
                <a:defRPr/>
              </a:pPr>
              <a:r>
                <a:rPr lang="en-US" altLang="ko-KR" sz="1500" dirty="0" err="1">
                  <a:solidFill>
                    <a:schemeClr val="bg1"/>
                  </a:solidFill>
                  <a:cs typeface="Arial" pitchFamily="34" charset="0"/>
                </a:rPr>
                <a:t>subdirektorat</a:t>
              </a:r>
              <a:r>
                <a:rPr lang="en-US" altLang="ko-KR" sz="1500" dirty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r>
                <a:rPr lang="en-US" altLang="ko-KR" sz="1500" dirty="0" err="1">
                  <a:solidFill>
                    <a:schemeClr val="bg1"/>
                  </a:solidFill>
                  <a:cs typeface="Arial" pitchFamily="34" charset="0"/>
                </a:rPr>
                <a:t>Kecamatan</a:t>
              </a:r>
              <a:endParaRPr lang="ko-KR" altLang="en-US" sz="15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3" name="Rounded Rectangle 3">
              <a:extLst>
                <a:ext uri="{FF2B5EF4-FFF2-40B4-BE49-F238E27FC236}">
                  <a16:creationId xmlns:a16="http://schemas.microsoft.com/office/drawing/2014/main" id="{54AE247A-E9E3-4D33-862D-2A1B4C1DF9C8}"/>
                </a:ext>
              </a:extLst>
            </p:cNvPr>
            <p:cNvSpPr/>
            <p:nvPr/>
          </p:nvSpPr>
          <p:spPr>
            <a:xfrm>
              <a:off x="789039" y="3951249"/>
              <a:ext cx="311477" cy="311477"/>
            </a:xfrm>
            <a:custGeom>
              <a:avLst/>
              <a:gdLst/>
              <a:ahLst/>
              <a:cxnLst/>
              <a:rect l="l" t="t" r="r" b="b"/>
              <a:pathLst>
                <a:path w="3960000" h="3960000">
                  <a:moveTo>
                    <a:pt x="2841893" y="181064"/>
                  </a:moveTo>
                  <a:cubicBezTo>
                    <a:pt x="2485731" y="190239"/>
                    <a:pt x="2106781" y="339266"/>
                    <a:pt x="2105790" y="859562"/>
                  </a:cubicBezTo>
                  <a:lnTo>
                    <a:pt x="2106860" y="863292"/>
                  </a:lnTo>
                  <a:lnTo>
                    <a:pt x="2106860" y="1248172"/>
                  </a:lnTo>
                  <a:lnTo>
                    <a:pt x="1691968" y="1248172"/>
                  </a:lnTo>
                  <a:lnTo>
                    <a:pt x="1691968" y="1824236"/>
                  </a:lnTo>
                  <a:lnTo>
                    <a:pt x="2106860" y="1824236"/>
                  </a:lnTo>
                  <a:lnTo>
                    <a:pt x="2106860" y="3779396"/>
                  </a:lnTo>
                  <a:lnTo>
                    <a:pt x="2754932" y="3779396"/>
                  </a:lnTo>
                  <a:lnTo>
                    <a:pt x="2754932" y="1824236"/>
                  </a:lnTo>
                  <a:lnTo>
                    <a:pt x="3305869" y="1813665"/>
                  </a:lnTo>
                  <a:lnTo>
                    <a:pt x="3348152" y="1248172"/>
                  </a:lnTo>
                  <a:lnTo>
                    <a:pt x="2754932" y="1248172"/>
                  </a:lnTo>
                  <a:lnTo>
                    <a:pt x="2754932" y="907124"/>
                  </a:lnTo>
                  <a:cubicBezTo>
                    <a:pt x="2746287" y="682909"/>
                    <a:pt x="3148643" y="674567"/>
                    <a:pt x="3369037" y="759137"/>
                  </a:cubicBezTo>
                  <a:cubicBezTo>
                    <a:pt x="3391941" y="611142"/>
                    <a:pt x="3398988" y="447290"/>
                    <a:pt x="3443034" y="304580"/>
                  </a:cubicBezTo>
                  <a:cubicBezTo>
                    <a:pt x="3382140" y="251394"/>
                    <a:pt x="3118909" y="173928"/>
                    <a:pt x="2841893" y="181064"/>
                  </a:cubicBezTo>
                  <a:close/>
                  <a:moveTo>
                    <a:pt x="308009" y="0"/>
                  </a:moveTo>
                  <a:lnTo>
                    <a:pt x="3651991" y="0"/>
                  </a:lnTo>
                  <a:cubicBezTo>
                    <a:pt x="3822100" y="0"/>
                    <a:pt x="3960000" y="137900"/>
                    <a:pt x="3960000" y="308009"/>
                  </a:cubicBezTo>
                  <a:lnTo>
                    <a:pt x="3960000" y="3651991"/>
                  </a:lnTo>
                  <a:cubicBezTo>
                    <a:pt x="3960000" y="3822100"/>
                    <a:pt x="3822100" y="3960000"/>
                    <a:pt x="3651991" y="3960000"/>
                  </a:cubicBezTo>
                  <a:lnTo>
                    <a:pt x="308009" y="3960000"/>
                  </a:lnTo>
                  <a:cubicBezTo>
                    <a:pt x="137900" y="3960000"/>
                    <a:pt x="0" y="3822100"/>
                    <a:pt x="0" y="3651991"/>
                  </a:cubicBezTo>
                  <a:lnTo>
                    <a:pt x="0" y="308009"/>
                  </a:lnTo>
                  <a:cubicBezTo>
                    <a:pt x="0" y="137900"/>
                    <a:pt x="137900" y="0"/>
                    <a:pt x="308009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501E6AA-4190-4427-BD77-B1C77B49A7C4}"/>
              </a:ext>
            </a:extLst>
          </p:cNvPr>
          <p:cNvGrpSpPr/>
          <p:nvPr/>
        </p:nvGrpSpPr>
        <p:grpSpPr>
          <a:xfrm>
            <a:off x="191950" y="5980277"/>
            <a:ext cx="3008652" cy="375631"/>
            <a:chOff x="240080" y="5674911"/>
            <a:chExt cx="3008652" cy="375631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9EA9964-6973-4049-AAD6-C07A32356EF1}"/>
                </a:ext>
              </a:extLst>
            </p:cNvPr>
            <p:cNvSpPr txBox="1"/>
            <p:nvPr/>
          </p:nvSpPr>
          <p:spPr>
            <a:xfrm>
              <a:off x="547062" y="5674911"/>
              <a:ext cx="2701670" cy="307777"/>
            </a:xfrm>
            <a:prstGeom prst="rect">
              <a:avLst/>
            </a:prstGeom>
            <a:solidFill>
              <a:srgbClr val="7DEBD9"/>
            </a:solidFill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B9D87"/>
                  </a:solidFill>
                  <a:effectLst/>
                  <a:uLnTx/>
                  <a:uFillTx/>
                  <a:latin typeface="Arial"/>
                  <a:cs typeface="+mn-cs"/>
                </a:rPr>
                <a:t>Subdit.kecamatan@gmail.com</a:t>
              </a:r>
              <a:endParaRPr kumimoji="0" lang="ko-KR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B9D87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36" name="Google Shape;5772;p39">
              <a:extLst>
                <a:ext uri="{FF2B5EF4-FFF2-40B4-BE49-F238E27FC236}">
                  <a16:creationId xmlns:a16="http://schemas.microsoft.com/office/drawing/2014/main" id="{F08D9C57-8A57-4C3F-8665-0C73AA6CBB38}"/>
                </a:ext>
              </a:extLst>
            </p:cNvPr>
            <p:cNvGrpSpPr/>
            <p:nvPr/>
          </p:nvGrpSpPr>
          <p:grpSpPr>
            <a:xfrm>
              <a:off x="240080" y="5679342"/>
              <a:ext cx="276025" cy="371200"/>
              <a:chOff x="2563350" y="2745275"/>
              <a:chExt cx="276025" cy="371200"/>
            </a:xfrm>
          </p:grpSpPr>
          <p:sp>
            <p:nvSpPr>
              <p:cNvPr id="37" name="Google Shape;5773;p39">
                <a:extLst>
                  <a:ext uri="{FF2B5EF4-FFF2-40B4-BE49-F238E27FC236}">
                    <a16:creationId xmlns:a16="http://schemas.microsoft.com/office/drawing/2014/main" id="{2FEC72F2-27F6-4F7B-BFFC-B25923D3DE76}"/>
                  </a:ext>
                </a:extLst>
              </p:cNvPr>
              <p:cNvSpPr/>
              <p:nvPr/>
            </p:nvSpPr>
            <p:spPr>
              <a:xfrm>
                <a:off x="2563350" y="2745275"/>
                <a:ext cx="276025" cy="371075"/>
              </a:xfrm>
              <a:custGeom>
                <a:avLst/>
                <a:gdLst/>
                <a:ahLst/>
                <a:cxnLst/>
                <a:rect l="l" t="t" r="r" b="b"/>
                <a:pathLst>
                  <a:path w="11041" h="14843" extrusionOk="0">
                    <a:moveTo>
                      <a:pt x="9678" y="1"/>
                    </a:moveTo>
                    <a:cubicBezTo>
                      <a:pt x="9573" y="1"/>
                      <a:pt x="9459" y="35"/>
                      <a:pt x="9339" y="104"/>
                    </a:cubicBezTo>
                    <a:lnTo>
                      <a:pt x="842" y="5010"/>
                    </a:lnTo>
                    <a:cubicBezTo>
                      <a:pt x="378" y="5285"/>
                      <a:pt x="0" y="6007"/>
                      <a:pt x="0" y="6625"/>
                    </a:cubicBezTo>
                    <a:lnTo>
                      <a:pt x="0" y="13619"/>
                    </a:lnTo>
                    <a:cubicBezTo>
                      <a:pt x="0" y="13980"/>
                      <a:pt x="129" y="14229"/>
                      <a:pt x="318" y="14315"/>
                    </a:cubicBezTo>
                    <a:lnTo>
                      <a:pt x="1169" y="14804"/>
                    </a:lnTo>
                    <a:cubicBezTo>
                      <a:pt x="1233" y="14830"/>
                      <a:pt x="1302" y="14843"/>
                      <a:pt x="1370" y="14843"/>
                    </a:cubicBezTo>
                    <a:cubicBezTo>
                      <a:pt x="1483" y="14843"/>
                      <a:pt x="1596" y="14808"/>
                      <a:pt x="1693" y="14744"/>
                    </a:cubicBezTo>
                    <a:lnTo>
                      <a:pt x="10190" y="9838"/>
                    </a:lnTo>
                    <a:cubicBezTo>
                      <a:pt x="10653" y="9564"/>
                      <a:pt x="11031" y="8842"/>
                      <a:pt x="11031" y="8223"/>
                    </a:cubicBezTo>
                    <a:lnTo>
                      <a:pt x="11031" y="1230"/>
                    </a:lnTo>
                    <a:cubicBezTo>
                      <a:pt x="11040" y="852"/>
                      <a:pt x="10903" y="603"/>
                      <a:pt x="10688" y="525"/>
                    </a:cubicBezTo>
                    <a:lnTo>
                      <a:pt x="9923" y="79"/>
                    </a:lnTo>
                    <a:cubicBezTo>
                      <a:pt x="9851" y="27"/>
                      <a:pt x="9768" y="1"/>
                      <a:pt x="9678" y="1"/>
                    </a:cubicBezTo>
                    <a:close/>
                  </a:path>
                </a:pathLst>
              </a:custGeom>
              <a:solidFill>
                <a:srgbClr val="1FB2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8" name="Google Shape;5774;p39">
                <a:extLst>
                  <a:ext uri="{FF2B5EF4-FFF2-40B4-BE49-F238E27FC236}">
                    <a16:creationId xmlns:a16="http://schemas.microsoft.com/office/drawing/2014/main" id="{F9BB1419-286C-47E0-8847-B6C37F12E853}"/>
                  </a:ext>
                </a:extLst>
              </p:cNvPr>
              <p:cNvSpPr/>
              <p:nvPr/>
            </p:nvSpPr>
            <p:spPr>
              <a:xfrm>
                <a:off x="2584600" y="2757625"/>
                <a:ext cx="254775" cy="358850"/>
              </a:xfrm>
              <a:custGeom>
                <a:avLst/>
                <a:gdLst/>
                <a:ahLst/>
                <a:cxnLst/>
                <a:rect l="l" t="t" r="r" b="b"/>
                <a:pathLst>
                  <a:path w="10191" h="14354" extrusionOk="0">
                    <a:moveTo>
                      <a:pt x="9681" y="0"/>
                    </a:moveTo>
                    <a:cubicBezTo>
                      <a:pt x="9579" y="0"/>
                      <a:pt x="9466" y="32"/>
                      <a:pt x="9348" y="100"/>
                    </a:cubicBezTo>
                    <a:lnTo>
                      <a:pt x="851" y="5006"/>
                    </a:lnTo>
                    <a:cubicBezTo>
                      <a:pt x="379" y="5281"/>
                      <a:pt x="1" y="6002"/>
                      <a:pt x="1" y="6621"/>
                    </a:cubicBezTo>
                    <a:lnTo>
                      <a:pt x="1" y="13614"/>
                    </a:lnTo>
                    <a:cubicBezTo>
                      <a:pt x="1" y="14074"/>
                      <a:pt x="210" y="14354"/>
                      <a:pt x="511" y="14354"/>
                    </a:cubicBezTo>
                    <a:cubicBezTo>
                      <a:pt x="615" y="14354"/>
                      <a:pt x="730" y="14321"/>
                      <a:pt x="851" y="14250"/>
                    </a:cubicBezTo>
                    <a:lnTo>
                      <a:pt x="9348" y="9344"/>
                    </a:lnTo>
                    <a:cubicBezTo>
                      <a:pt x="9812" y="9078"/>
                      <a:pt x="10190" y="8356"/>
                      <a:pt x="10190" y="7729"/>
                    </a:cubicBezTo>
                    <a:lnTo>
                      <a:pt x="10190" y="736"/>
                    </a:lnTo>
                    <a:cubicBezTo>
                      <a:pt x="10190" y="275"/>
                      <a:pt x="9980" y="0"/>
                      <a:pt x="9681" y="0"/>
                    </a:cubicBezTo>
                    <a:close/>
                  </a:path>
                </a:pathLst>
              </a:custGeom>
              <a:solidFill>
                <a:srgbClr val="7DEBD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9" name="Google Shape;5775;p39">
                <a:extLst>
                  <a:ext uri="{FF2B5EF4-FFF2-40B4-BE49-F238E27FC236}">
                    <a16:creationId xmlns:a16="http://schemas.microsoft.com/office/drawing/2014/main" id="{2E3987D2-E3B4-478C-AAE4-6C322BE389D8}"/>
                  </a:ext>
                </a:extLst>
              </p:cNvPr>
              <p:cNvSpPr/>
              <p:nvPr/>
            </p:nvSpPr>
            <p:spPr>
              <a:xfrm>
                <a:off x="2584825" y="2757625"/>
                <a:ext cx="254550" cy="196675"/>
              </a:xfrm>
              <a:custGeom>
                <a:avLst/>
                <a:gdLst/>
                <a:ahLst/>
                <a:cxnLst/>
                <a:rect l="l" t="t" r="r" b="b"/>
                <a:pathLst>
                  <a:path w="10182" h="7867" extrusionOk="0">
                    <a:moveTo>
                      <a:pt x="9672" y="0"/>
                    </a:moveTo>
                    <a:cubicBezTo>
                      <a:pt x="9570" y="0"/>
                      <a:pt x="9457" y="32"/>
                      <a:pt x="9339" y="100"/>
                    </a:cubicBezTo>
                    <a:lnTo>
                      <a:pt x="5086" y="2557"/>
                    </a:lnTo>
                    <a:lnTo>
                      <a:pt x="842" y="5006"/>
                    </a:lnTo>
                    <a:cubicBezTo>
                      <a:pt x="370" y="5272"/>
                      <a:pt x="0" y="5994"/>
                      <a:pt x="0" y="6621"/>
                    </a:cubicBezTo>
                    <a:lnTo>
                      <a:pt x="0" y="7678"/>
                    </a:lnTo>
                    <a:lnTo>
                      <a:pt x="5095" y="7867"/>
                    </a:lnTo>
                    <a:lnTo>
                      <a:pt x="10172" y="1801"/>
                    </a:lnTo>
                    <a:lnTo>
                      <a:pt x="10181" y="1793"/>
                    </a:lnTo>
                    <a:lnTo>
                      <a:pt x="10181" y="736"/>
                    </a:lnTo>
                    <a:cubicBezTo>
                      <a:pt x="10181" y="275"/>
                      <a:pt x="9971" y="0"/>
                      <a:pt x="9672" y="0"/>
                    </a:cubicBezTo>
                    <a:close/>
                  </a:path>
                </a:pathLst>
              </a:custGeom>
              <a:solidFill>
                <a:srgbClr val="23C7A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0" name="Google Shape;5776;p39">
                <a:extLst>
                  <a:ext uri="{FF2B5EF4-FFF2-40B4-BE49-F238E27FC236}">
                    <a16:creationId xmlns:a16="http://schemas.microsoft.com/office/drawing/2014/main" id="{B3C3F4FF-89DA-4E3A-9287-8EECA4AAD3EF}"/>
                  </a:ext>
                </a:extLst>
              </p:cNvPr>
              <p:cNvSpPr/>
              <p:nvPr/>
            </p:nvSpPr>
            <p:spPr>
              <a:xfrm>
                <a:off x="2666000" y="2867425"/>
                <a:ext cx="120525" cy="139200"/>
              </a:xfrm>
              <a:custGeom>
                <a:avLst/>
                <a:gdLst/>
                <a:ahLst/>
                <a:cxnLst/>
                <a:rect l="l" t="t" r="r" b="b"/>
                <a:pathLst>
                  <a:path w="4821" h="5568" extrusionOk="0">
                    <a:moveTo>
                      <a:pt x="3081" y="1"/>
                    </a:moveTo>
                    <a:cubicBezTo>
                      <a:pt x="2441" y="1"/>
                      <a:pt x="1870" y="558"/>
                      <a:pt x="1513" y="1035"/>
                    </a:cubicBezTo>
                    <a:cubicBezTo>
                      <a:pt x="826" y="1945"/>
                      <a:pt x="1" y="4016"/>
                      <a:pt x="1049" y="4978"/>
                    </a:cubicBezTo>
                    <a:cubicBezTo>
                      <a:pt x="1101" y="5030"/>
                      <a:pt x="1161" y="5073"/>
                      <a:pt x="1229" y="5107"/>
                    </a:cubicBezTo>
                    <a:lnTo>
                      <a:pt x="1788" y="5434"/>
                    </a:lnTo>
                    <a:cubicBezTo>
                      <a:pt x="1788" y="5434"/>
                      <a:pt x="1992" y="5568"/>
                      <a:pt x="2318" y="5568"/>
                    </a:cubicBezTo>
                    <a:cubicBezTo>
                      <a:pt x="2552" y="5568"/>
                      <a:pt x="2849" y="5499"/>
                      <a:pt x="3180" y="5262"/>
                    </a:cubicBezTo>
                    <a:cubicBezTo>
                      <a:pt x="3386" y="5107"/>
                      <a:pt x="3858" y="4703"/>
                      <a:pt x="3635" y="4403"/>
                    </a:cubicBezTo>
                    <a:cubicBezTo>
                      <a:pt x="3523" y="4308"/>
                      <a:pt x="3394" y="4222"/>
                      <a:pt x="3266" y="4153"/>
                    </a:cubicBezTo>
                    <a:cubicBezTo>
                      <a:pt x="3308" y="4119"/>
                      <a:pt x="3343" y="4085"/>
                      <a:pt x="3386" y="4042"/>
                    </a:cubicBezTo>
                    <a:lnTo>
                      <a:pt x="3601" y="4162"/>
                    </a:lnTo>
                    <a:cubicBezTo>
                      <a:pt x="3632" y="4184"/>
                      <a:pt x="3667" y="4193"/>
                      <a:pt x="3704" y="4193"/>
                    </a:cubicBezTo>
                    <a:cubicBezTo>
                      <a:pt x="3980" y="4193"/>
                      <a:pt x="4379" y="3663"/>
                      <a:pt x="4477" y="3466"/>
                    </a:cubicBezTo>
                    <a:cubicBezTo>
                      <a:pt x="4700" y="2985"/>
                      <a:pt x="4821" y="2452"/>
                      <a:pt x="4812" y="1920"/>
                    </a:cubicBezTo>
                    <a:cubicBezTo>
                      <a:pt x="4812" y="1404"/>
                      <a:pt x="4657" y="743"/>
                      <a:pt x="4185" y="476"/>
                    </a:cubicBezTo>
                    <a:lnTo>
                      <a:pt x="3523" y="98"/>
                    </a:lnTo>
                    <a:cubicBezTo>
                      <a:pt x="3429" y="55"/>
                      <a:pt x="3334" y="21"/>
                      <a:pt x="3240" y="12"/>
                    </a:cubicBezTo>
                    <a:cubicBezTo>
                      <a:pt x="3187" y="5"/>
                      <a:pt x="3134" y="1"/>
                      <a:pt x="3081" y="1"/>
                    </a:cubicBezTo>
                    <a:close/>
                  </a:path>
                </a:pathLst>
              </a:custGeom>
              <a:solidFill>
                <a:srgbClr val="1FB29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41" name="Google Shape;5777;p39">
                <a:extLst>
                  <a:ext uri="{FF2B5EF4-FFF2-40B4-BE49-F238E27FC236}">
                    <a16:creationId xmlns:a16="http://schemas.microsoft.com/office/drawing/2014/main" id="{0C0BA23B-AF2B-48E4-A5E7-5600A432D073}"/>
                  </a:ext>
                </a:extLst>
              </p:cNvPr>
              <p:cNvSpPr/>
              <p:nvPr/>
            </p:nvSpPr>
            <p:spPr>
              <a:xfrm>
                <a:off x="2681675" y="2876075"/>
                <a:ext cx="104850" cy="130550"/>
              </a:xfrm>
              <a:custGeom>
                <a:avLst/>
                <a:gdLst/>
                <a:ahLst/>
                <a:cxnLst/>
                <a:rect l="l" t="t" r="r" b="b"/>
                <a:pathLst>
                  <a:path w="4194" h="5222" extrusionOk="0">
                    <a:moveTo>
                      <a:pt x="2539" y="1959"/>
                    </a:moveTo>
                    <a:cubicBezTo>
                      <a:pt x="2709" y="1959"/>
                      <a:pt x="2810" y="2125"/>
                      <a:pt x="2810" y="2364"/>
                    </a:cubicBezTo>
                    <a:lnTo>
                      <a:pt x="2810" y="2373"/>
                    </a:lnTo>
                    <a:cubicBezTo>
                      <a:pt x="2810" y="2648"/>
                      <a:pt x="2681" y="3120"/>
                      <a:pt x="2389" y="3240"/>
                    </a:cubicBezTo>
                    <a:cubicBezTo>
                      <a:pt x="2334" y="3264"/>
                      <a:pt x="2285" y="3275"/>
                      <a:pt x="2242" y="3275"/>
                    </a:cubicBezTo>
                    <a:cubicBezTo>
                      <a:pt x="2049" y="3275"/>
                      <a:pt x="1968" y="3064"/>
                      <a:pt x="1968" y="2854"/>
                    </a:cubicBezTo>
                    <a:cubicBezTo>
                      <a:pt x="1960" y="2579"/>
                      <a:pt x="2089" y="2184"/>
                      <a:pt x="2329" y="2029"/>
                    </a:cubicBezTo>
                    <a:cubicBezTo>
                      <a:pt x="2407" y="1981"/>
                      <a:pt x="2478" y="1959"/>
                      <a:pt x="2539" y="1959"/>
                    </a:cubicBezTo>
                    <a:close/>
                    <a:moveTo>
                      <a:pt x="3086" y="0"/>
                    </a:moveTo>
                    <a:cubicBezTo>
                      <a:pt x="2447" y="0"/>
                      <a:pt x="1864" y="561"/>
                      <a:pt x="1504" y="1032"/>
                    </a:cubicBezTo>
                    <a:cubicBezTo>
                      <a:pt x="817" y="1943"/>
                      <a:pt x="1" y="4022"/>
                      <a:pt x="1041" y="4984"/>
                    </a:cubicBezTo>
                    <a:cubicBezTo>
                      <a:pt x="1227" y="5153"/>
                      <a:pt x="1443" y="5221"/>
                      <a:pt x="1664" y="5221"/>
                    </a:cubicBezTo>
                    <a:cubicBezTo>
                      <a:pt x="1973" y="5221"/>
                      <a:pt x="2292" y="5088"/>
                      <a:pt x="2553" y="4907"/>
                    </a:cubicBezTo>
                    <a:cubicBezTo>
                      <a:pt x="2759" y="4761"/>
                      <a:pt x="3231" y="4349"/>
                      <a:pt x="3017" y="4048"/>
                    </a:cubicBezTo>
                    <a:cubicBezTo>
                      <a:pt x="2973" y="3987"/>
                      <a:pt x="2922" y="3962"/>
                      <a:pt x="2866" y="3962"/>
                    </a:cubicBezTo>
                    <a:cubicBezTo>
                      <a:pt x="2679" y="3962"/>
                      <a:pt x="2443" y="4233"/>
                      <a:pt x="2278" y="4306"/>
                    </a:cubicBezTo>
                    <a:cubicBezTo>
                      <a:pt x="2152" y="4360"/>
                      <a:pt x="2035" y="4385"/>
                      <a:pt x="1927" y="4385"/>
                    </a:cubicBezTo>
                    <a:cubicBezTo>
                      <a:pt x="1506" y="4385"/>
                      <a:pt x="1233" y="4005"/>
                      <a:pt x="1178" y="3533"/>
                    </a:cubicBezTo>
                    <a:cubicBezTo>
                      <a:pt x="1092" y="2794"/>
                      <a:pt x="1410" y="1969"/>
                      <a:pt x="1891" y="1410"/>
                    </a:cubicBezTo>
                    <a:cubicBezTo>
                      <a:pt x="2120" y="1134"/>
                      <a:pt x="2510" y="834"/>
                      <a:pt x="2880" y="834"/>
                    </a:cubicBezTo>
                    <a:cubicBezTo>
                      <a:pt x="3050" y="834"/>
                      <a:pt x="3216" y="898"/>
                      <a:pt x="3360" y="1058"/>
                    </a:cubicBezTo>
                    <a:cubicBezTo>
                      <a:pt x="3781" y="1522"/>
                      <a:pt x="3652" y="2424"/>
                      <a:pt x="3386" y="2931"/>
                    </a:cubicBezTo>
                    <a:cubicBezTo>
                      <a:pt x="3386" y="2648"/>
                      <a:pt x="3395" y="2356"/>
                      <a:pt x="3386" y="2063"/>
                    </a:cubicBezTo>
                    <a:cubicBezTo>
                      <a:pt x="3368" y="1553"/>
                      <a:pt x="3129" y="1126"/>
                      <a:pt x="2740" y="1126"/>
                    </a:cubicBezTo>
                    <a:cubicBezTo>
                      <a:pt x="2585" y="1126"/>
                      <a:pt x="2407" y="1194"/>
                      <a:pt x="2209" y="1350"/>
                    </a:cubicBezTo>
                    <a:cubicBezTo>
                      <a:pt x="1633" y="1806"/>
                      <a:pt x="1281" y="2759"/>
                      <a:pt x="1419" y="3490"/>
                    </a:cubicBezTo>
                    <a:cubicBezTo>
                      <a:pt x="1501" y="3913"/>
                      <a:pt x="1728" y="4082"/>
                      <a:pt x="1992" y="4082"/>
                    </a:cubicBezTo>
                    <a:cubicBezTo>
                      <a:pt x="2280" y="4082"/>
                      <a:pt x="2612" y="3880"/>
                      <a:pt x="2845" y="3584"/>
                    </a:cubicBezTo>
                    <a:cubicBezTo>
                      <a:pt x="2893" y="3771"/>
                      <a:pt x="2978" y="3842"/>
                      <a:pt x="3080" y="3842"/>
                    </a:cubicBezTo>
                    <a:cubicBezTo>
                      <a:pt x="3358" y="3842"/>
                      <a:pt x="3758" y="3307"/>
                      <a:pt x="3859" y="3112"/>
                    </a:cubicBezTo>
                    <a:cubicBezTo>
                      <a:pt x="4073" y="2630"/>
                      <a:pt x="4194" y="2106"/>
                      <a:pt x="4185" y="1574"/>
                    </a:cubicBezTo>
                    <a:cubicBezTo>
                      <a:pt x="4185" y="947"/>
                      <a:pt x="3962" y="122"/>
                      <a:pt x="3231" y="10"/>
                    </a:cubicBezTo>
                    <a:cubicBezTo>
                      <a:pt x="3183" y="3"/>
                      <a:pt x="3134" y="0"/>
                      <a:pt x="3086" y="0"/>
                    </a:cubicBezTo>
                    <a:close/>
                  </a:path>
                </a:pathLst>
              </a:custGeom>
              <a:solidFill>
                <a:srgbClr val="23C7A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8625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0EEE9969-D21B-4551-854D-C6F52627DDBF}"/>
              </a:ext>
            </a:extLst>
          </p:cNvPr>
          <p:cNvSpPr>
            <a:spLocks/>
          </p:cNvSpPr>
          <p:nvPr/>
        </p:nvSpPr>
        <p:spPr bwMode="auto">
          <a:xfrm flipV="1">
            <a:off x="0" y="2219453"/>
            <a:ext cx="6299200" cy="6462693"/>
          </a:xfrm>
          <a:custGeom>
            <a:avLst/>
            <a:gdLst>
              <a:gd name="T0" fmla="*/ 687 w 1433"/>
              <a:gd name="T1" fmla="*/ 1323 h 1472"/>
              <a:gd name="T2" fmla="*/ 0 w 1433"/>
              <a:gd name="T3" fmla="*/ 1472 h 1472"/>
              <a:gd name="T4" fmla="*/ 0 w 1433"/>
              <a:gd name="T5" fmla="*/ 0 h 1472"/>
              <a:gd name="T6" fmla="*/ 106 w 1433"/>
              <a:gd name="T7" fmla="*/ 0 h 1472"/>
              <a:gd name="T8" fmla="*/ 116 w 1433"/>
              <a:gd name="T9" fmla="*/ 23 h 1472"/>
              <a:gd name="T10" fmla="*/ 317 w 1433"/>
              <a:gd name="T11" fmla="*/ 182 h 1472"/>
              <a:gd name="T12" fmla="*/ 612 w 1433"/>
              <a:gd name="T13" fmla="*/ 234 h 1472"/>
              <a:gd name="T14" fmla="*/ 1414 w 1433"/>
              <a:gd name="T15" fmla="*/ 763 h 1472"/>
              <a:gd name="T16" fmla="*/ 687 w 1433"/>
              <a:gd name="T17" fmla="*/ 1323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33" h="1472">
                <a:moveTo>
                  <a:pt x="687" y="1323"/>
                </a:moveTo>
                <a:cubicBezTo>
                  <a:pt x="247" y="1226"/>
                  <a:pt x="0" y="1472"/>
                  <a:pt x="0" y="1472"/>
                </a:cubicBezTo>
                <a:cubicBezTo>
                  <a:pt x="0" y="0"/>
                  <a:pt x="0" y="0"/>
                  <a:pt x="0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0"/>
                  <a:pt x="108" y="9"/>
                  <a:pt x="116" y="23"/>
                </a:cubicBezTo>
                <a:cubicBezTo>
                  <a:pt x="136" y="59"/>
                  <a:pt x="189" y="132"/>
                  <a:pt x="317" y="182"/>
                </a:cubicBezTo>
                <a:cubicBezTo>
                  <a:pt x="389" y="210"/>
                  <a:pt x="485" y="231"/>
                  <a:pt x="612" y="234"/>
                </a:cubicBezTo>
                <a:cubicBezTo>
                  <a:pt x="1048" y="246"/>
                  <a:pt x="1394" y="435"/>
                  <a:pt x="1414" y="763"/>
                </a:cubicBezTo>
                <a:cubicBezTo>
                  <a:pt x="1433" y="1091"/>
                  <a:pt x="1127" y="1420"/>
                  <a:pt x="687" y="1323"/>
                </a:cubicBezTo>
                <a:close/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D275205-DE2E-4A19-A41D-6348169134E4}"/>
              </a:ext>
            </a:extLst>
          </p:cNvPr>
          <p:cNvGrpSpPr/>
          <p:nvPr/>
        </p:nvGrpSpPr>
        <p:grpSpPr>
          <a:xfrm>
            <a:off x="6603876" y="-1713841"/>
            <a:ext cx="2824788" cy="2820195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25E66DF1-0ECE-41A4-B610-F26F25D87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B4D7AFE9-6B6D-4F58-8E97-42C8D4D30A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B51E4CB-40F6-4999-86C3-9AA7803CF4A7}"/>
              </a:ext>
            </a:extLst>
          </p:cNvPr>
          <p:cNvGrpSpPr/>
          <p:nvPr/>
        </p:nvGrpSpPr>
        <p:grpSpPr>
          <a:xfrm>
            <a:off x="9389278" y="-908125"/>
            <a:ext cx="4366574" cy="4359474"/>
            <a:chOff x="9614862" y="3675063"/>
            <a:chExt cx="1952625" cy="1949450"/>
          </a:xfrm>
          <a:solidFill>
            <a:schemeClr val="bg1">
              <a:alpha val="18000"/>
            </a:schemeClr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573D84-65AD-4FDF-8784-92C82547B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65C26B95-C0EF-42EB-BA6C-9984D29954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3982A0E-46FA-4C41-B5CA-15BC64C7D565}"/>
              </a:ext>
            </a:extLst>
          </p:cNvPr>
          <p:cNvGrpSpPr/>
          <p:nvPr/>
        </p:nvGrpSpPr>
        <p:grpSpPr>
          <a:xfrm>
            <a:off x="-1179804" y="3092522"/>
            <a:ext cx="4366574" cy="4359474"/>
            <a:chOff x="9614862" y="3675063"/>
            <a:chExt cx="1952625" cy="1949450"/>
          </a:xfrm>
          <a:solidFill>
            <a:schemeClr val="bg1">
              <a:alpha val="6000"/>
            </a:schemeClr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AED4E1C9-B06C-4D3C-87FE-23CC33A7F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27612" y="4087813"/>
              <a:ext cx="1123950" cy="1120775"/>
            </a:xfrm>
            <a:custGeom>
              <a:avLst/>
              <a:gdLst>
                <a:gd name="T0" fmla="*/ 375 w 375"/>
                <a:gd name="T1" fmla="*/ 217 h 375"/>
                <a:gd name="T2" fmla="*/ 375 w 375"/>
                <a:gd name="T3" fmla="*/ 158 h 375"/>
                <a:gd name="T4" fmla="*/ 332 w 375"/>
                <a:gd name="T5" fmla="*/ 158 h 375"/>
                <a:gd name="T6" fmla="*/ 310 w 375"/>
                <a:gd name="T7" fmla="*/ 107 h 375"/>
                <a:gd name="T8" fmla="*/ 341 w 375"/>
                <a:gd name="T9" fmla="*/ 76 h 375"/>
                <a:gd name="T10" fmla="*/ 299 w 375"/>
                <a:gd name="T11" fmla="*/ 34 h 375"/>
                <a:gd name="T12" fmla="*/ 269 w 375"/>
                <a:gd name="T13" fmla="*/ 65 h 375"/>
                <a:gd name="T14" fmla="*/ 217 w 375"/>
                <a:gd name="T15" fmla="*/ 44 h 375"/>
                <a:gd name="T16" fmla="*/ 217 w 375"/>
                <a:gd name="T17" fmla="*/ 0 h 375"/>
                <a:gd name="T18" fmla="*/ 158 w 375"/>
                <a:gd name="T19" fmla="*/ 0 h 375"/>
                <a:gd name="T20" fmla="*/ 158 w 375"/>
                <a:gd name="T21" fmla="*/ 44 h 375"/>
                <a:gd name="T22" fmla="*/ 107 w 375"/>
                <a:gd name="T23" fmla="*/ 65 h 375"/>
                <a:gd name="T24" fmla="*/ 76 w 375"/>
                <a:gd name="T25" fmla="*/ 34 h 375"/>
                <a:gd name="T26" fmla="*/ 34 w 375"/>
                <a:gd name="T27" fmla="*/ 76 h 375"/>
                <a:gd name="T28" fmla="*/ 65 w 375"/>
                <a:gd name="T29" fmla="*/ 107 h 375"/>
                <a:gd name="T30" fmla="*/ 44 w 375"/>
                <a:gd name="T31" fmla="*/ 158 h 375"/>
                <a:gd name="T32" fmla="*/ 0 w 375"/>
                <a:gd name="T33" fmla="*/ 158 h 375"/>
                <a:gd name="T34" fmla="*/ 0 w 375"/>
                <a:gd name="T35" fmla="*/ 217 h 375"/>
                <a:gd name="T36" fmla="*/ 44 w 375"/>
                <a:gd name="T37" fmla="*/ 217 h 375"/>
                <a:gd name="T38" fmla="*/ 65 w 375"/>
                <a:gd name="T39" fmla="*/ 269 h 375"/>
                <a:gd name="T40" fmla="*/ 34 w 375"/>
                <a:gd name="T41" fmla="*/ 299 h 375"/>
                <a:gd name="T42" fmla="*/ 76 w 375"/>
                <a:gd name="T43" fmla="*/ 341 h 375"/>
                <a:gd name="T44" fmla="*/ 107 w 375"/>
                <a:gd name="T45" fmla="*/ 310 h 375"/>
                <a:gd name="T46" fmla="*/ 158 w 375"/>
                <a:gd name="T47" fmla="*/ 332 h 375"/>
                <a:gd name="T48" fmla="*/ 158 w 375"/>
                <a:gd name="T49" fmla="*/ 375 h 375"/>
                <a:gd name="T50" fmla="*/ 217 w 375"/>
                <a:gd name="T51" fmla="*/ 375 h 375"/>
                <a:gd name="T52" fmla="*/ 217 w 375"/>
                <a:gd name="T53" fmla="*/ 332 h 375"/>
                <a:gd name="T54" fmla="*/ 269 w 375"/>
                <a:gd name="T55" fmla="*/ 310 h 375"/>
                <a:gd name="T56" fmla="*/ 299 w 375"/>
                <a:gd name="T57" fmla="*/ 341 h 375"/>
                <a:gd name="T58" fmla="*/ 341 w 375"/>
                <a:gd name="T59" fmla="*/ 299 h 375"/>
                <a:gd name="T60" fmla="*/ 310 w 375"/>
                <a:gd name="T61" fmla="*/ 269 h 375"/>
                <a:gd name="T62" fmla="*/ 332 w 375"/>
                <a:gd name="T63" fmla="*/ 217 h 375"/>
                <a:gd name="T64" fmla="*/ 375 w 375"/>
                <a:gd name="T65" fmla="*/ 217 h 375"/>
                <a:gd name="T66" fmla="*/ 188 w 375"/>
                <a:gd name="T67" fmla="*/ 264 h 375"/>
                <a:gd name="T68" fmla="*/ 112 w 375"/>
                <a:gd name="T69" fmla="*/ 188 h 375"/>
                <a:gd name="T70" fmla="*/ 188 w 375"/>
                <a:gd name="T71" fmla="*/ 112 h 375"/>
                <a:gd name="T72" fmla="*/ 264 w 375"/>
                <a:gd name="T73" fmla="*/ 188 h 375"/>
                <a:gd name="T74" fmla="*/ 188 w 375"/>
                <a:gd name="T75" fmla="*/ 26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5" h="375">
                  <a:moveTo>
                    <a:pt x="375" y="217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32" y="158"/>
                    <a:pt x="332" y="158"/>
                    <a:pt x="332" y="158"/>
                  </a:cubicBezTo>
                  <a:cubicBezTo>
                    <a:pt x="328" y="140"/>
                    <a:pt x="321" y="122"/>
                    <a:pt x="310" y="107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299" y="34"/>
                    <a:pt x="299" y="34"/>
                    <a:pt x="299" y="34"/>
                  </a:cubicBezTo>
                  <a:cubicBezTo>
                    <a:pt x="269" y="65"/>
                    <a:pt x="269" y="65"/>
                    <a:pt x="269" y="65"/>
                  </a:cubicBezTo>
                  <a:cubicBezTo>
                    <a:pt x="253" y="55"/>
                    <a:pt x="236" y="48"/>
                    <a:pt x="217" y="44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44"/>
                    <a:pt x="158" y="44"/>
                    <a:pt x="158" y="44"/>
                  </a:cubicBezTo>
                  <a:cubicBezTo>
                    <a:pt x="140" y="48"/>
                    <a:pt x="122" y="55"/>
                    <a:pt x="107" y="65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65" y="107"/>
                    <a:pt x="65" y="107"/>
                    <a:pt x="65" y="107"/>
                  </a:cubicBezTo>
                  <a:cubicBezTo>
                    <a:pt x="55" y="122"/>
                    <a:pt x="48" y="140"/>
                    <a:pt x="44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44" y="217"/>
                    <a:pt x="44" y="217"/>
                    <a:pt x="44" y="217"/>
                  </a:cubicBezTo>
                  <a:cubicBezTo>
                    <a:pt x="48" y="236"/>
                    <a:pt x="55" y="253"/>
                    <a:pt x="65" y="269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76" y="341"/>
                    <a:pt x="76" y="341"/>
                    <a:pt x="76" y="341"/>
                  </a:cubicBezTo>
                  <a:cubicBezTo>
                    <a:pt x="107" y="310"/>
                    <a:pt x="107" y="310"/>
                    <a:pt x="107" y="310"/>
                  </a:cubicBezTo>
                  <a:cubicBezTo>
                    <a:pt x="122" y="321"/>
                    <a:pt x="140" y="328"/>
                    <a:pt x="158" y="332"/>
                  </a:cubicBezTo>
                  <a:cubicBezTo>
                    <a:pt x="158" y="375"/>
                    <a:pt x="158" y="375"/>
                    <a:pt x="158" y="375"/>
                  </a:cubicBezTo>
                  <a:cubicBezTo>
                    <a:pt x="217" y="375"/>
                    <a:pt x="217" y="375"/>
                    <a:pt x="217" y="375"/>
                  </a:cubicBezTo>
                  <a:cubicBezTo>
                    <a:pt x="217" y="332"/>
                    <a:pt x="217" y="332"/>
                    <a:pt x="217" y="332"/>
                  </a:cubicBezTo>
                  <a:cubicBezTo>
                    <a:pt x="236" y="328"/>
                    <a:pt x="253" y="321"/>
                    <a:pt x="269" y="310"/>
                  </a:cubicBezTo>
                  <a:cubicBezTo>
                    <a:pt x="299" y="341"/>
                    <a:pt x="299" y="341"/>
                    <a:pt x="299" y="341"/>
                  </a:cubicBezTo>
                  <a:cubicBezTo>
                    <a:pt x="341" y="299"/>
                    <a:pt x="341" y="299"/>
                    <a:pt x="341" y="299"/>
                  </a:cubicBezTo>
                  <a:cubicBezTo>
                    <a:pt x="310" y="269"/>
                    <a:pt x="310" y="269"/>
                    <a:pt x="310" y="269"/>
                  </a:cubicBezTo>
                  <a:cubicBezTo>
                    <a:pt x="321" y="253"/>
                    <a:pt x="328" y="236"/>
                    <a:pt x="332" y="217"/>
                  </a:cubicBezTo>
                  <a:lnTo>
                    <a:pt x="375" y="217"/>
                  </a:lnTo>
                  <a:close/>
                  <a:moveTo>
                    <a:pt x="188" y="264"/>
                  </a:moveTo>
                  <a:cubicBezTo>
                    <a:pt x="146" y="264"/>
                    <a:pt x="112" y="230"/>
                    <a:pt x="112" y="188"/>
                  </a:cubicBezTo>
                  <a:cubicBezTo>
                    <a:pt x="112" y="146"/>
                    <a:pt x="146" y="112"/>
                    <a:pt x="188" y="112"/>
                  </a:cubicBezTo>
                  <a:cubicBezTo>
                    <a:pt x="230" y="112"/>
                    <a:pt x="264" y="146"/>
                    <a:pt x="264" y="188"/>
                  </a:cubicBezTo>
                  <a:cubicBezTo>
                    <a:pt x="264" y="230"/>
                    <a:pt x="230" y="264"/>
                    <a:pt x="188" y="2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CE2DF4E-F450-4925-842B-E8093AEB1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4862" y="3675063"/>
              <a:ext cx="1952625" cy="1949450"/>
            </a:xfrm>
            <a:custGeom>
              <a:avLst/>
              <a:gdLst>
                <a:gd name="T0" fmla="*/ 597 w 652"/>
                <a:gd name="T1" fmla="*/ 420 h 652"/>
                <a:gd name="T2" fmla="*/ 623 w 652"/>
                <a:gd name="T3" fmla="*/ 191 h 652"/>
                <a:gd name="T4" fmla="*/ 540 w 652"/>
                <a:gd name="T5" fmla="*/ 79 h 652"/>
                <a:gd name="T6" fmla="*/ 313 w 652"/>
                <a:gd name="T7" fmla="*/ 39 h 652"/>
                <a:gd name="T8" fmla="*/ 201 w 652"/>
                <a:gd name="T9" fmla="*/ 67 h 652"/>
                <a:gd name="T10" fmla="*/ 20 w 652"/>
                <a:gd name="T11" fmla="*/ 211 h 652"/>
                <a:gd name="T12" fmla="*/ 0 w 652"/>
                <a:gd name="T13" fmla="*/ 349 h 652"/>
                <a:gd name="T14" fmla="*/ 132 w 652"/>
                <a:gd name="T15" fmla="*/ 538 h 652"/>
                <a:gd name="T16" fmla="*/ 232 w 652"/>
                <a:gd name="T17" fmla="*/ 597 h 652"/>
                <a:gd name="T18" fmla="*/ 461 w 652"/>
                <a:gd name="T19" fmla="*/ 623 h 652"/>
                <a:gd name="T20" fmla="*/ 573 w 652"/>
                <a:gd name="T21" fmla="*/ 540 h 652"/>
                <a:gd name="T22" fmla="*/ 510 w 652"/>
                <a:gd name="T23" fmla="*/ 467 h 652"/>
                <a:gd name="T24" fmla="*/ 499 w 652"/>
                <a:gd name="T25" fmla="*/ 481 h 652"/>
                <a:gd name="T26" fmla="*/ 411 w 652"/>
                <a:gd name="T27" fmla="*/ 542 h 652"/>
                <a:gd name="T28" fmla="*/ 397 w 652"/>
                <a:gd name="T29" fmla="*/ 547 h 652"/>
                <a:gd name="T30" fmla="*/ 355 w 652"/>
                <a:gd name="T31" fmla="*/ 556 h 652"/>
                <a:gd name="T32" fmla="*/ 260 w 652"/>
                <a:gd name="T33" fmla="*/ 549 h 652"/>
                <a:gd name="T34" fmla="*/ 235 w 652"/>
                <a:gd name="T35" fmla="*/ 540 h 652"/>
                <a:gd name="T36" fmla="*/ 219 w 652"/>
                <a:gd name="T37" fmla="*/ 532 h 652"/>
                <a:gd name="T38" fmla="*/ 192 w 652"/>
                <a:gd name="T39" fmla="*/ 516 h 652"/>
                <a:gd name="T40" fmla="*/ 173 w 652"/>
                <a:gd name="T41" fmla="*/ 501 h 652"/>
                <a:gd name="T42" fmla="*/ 122 w 652"/>
                <a:gd name="T43" fmla="*/ 437 h 652"/>
                <a:gd name="T44" fmla="*/ 105 w 652"/>
                <a:gd name="T45" fmla="*/ 397 h 652"/>
                <a:gd name="T46" fmla="*/ 97 w 652"/>
                <a:gd name="T47" fmla="*/ 368 h 652"/>
                <a:gd name="T48" fmla="*/ 93 w 652"/>
                <a:gd name="T49" fmla="*/ 325 h 652"/>
                <a:gd name="T50" fmla="*/ 108 w 652"/>
                <a:gd name="T51" fmla="*/ 244 h 652"/>
                <a:gd name="T52" fmla="*/ 117 w 652"/>
                <a:gd name="T53" fmla="*/ 222 h 652"/>
                <a:gd name="T54" fmla="*/ 133 w 652"/>
                <a:gd name="T55" fmla="*/ 195 h 652"/>
                <a:gd name="T56" fmla="*/ 144 w 652"/>
                <a:gd name="T57" fmla="*/ 181 h 652"/>
                <a:gd name="T58" fmla="*/ 162 w 652"/>
                <a:gd name="T59" fmla="*/ 161 h 652"/>
                <a:gd name="T60" fmla="*/ 241 w 652"/>
                <a:gd name="T61" fmla="*/ 109 h 652"/>
                <a:gd name="T62" fmla="*/ 283 w 652"/>
                <a:gd name="T63" fmla="*/ 97 h 652"/>
                <a:gd name="T64" fmla="*/ 298 w 652"/>
                <a:gd name="T65" fmla="*/ 95 h 652"/>
                <a:gd name="T66" fmla="*/ 404 w 652"/>
                <a:gd name="T67" fmla="*/ 107 h 652"/>
                <a:gd name="T68" fmla="*/ 420 w 652"/>
                <a:gd name="T69" fmla="*/ 113 h 652"/>
                <a:gd name="T70" fmla="*/ 445 w 652"/>
                <a:gd name="T71" fmla="*/ 126 h 652"/>
                <a:gd name="T72" fmla="*/ 467 w 652"/>
                <a:gd name="T73" fmla="*/ 141 h 652"/>
                <a:gd name="T74" fmla="*/ 481 w 652"/>
                <a:gd name="T75" fmla="*/ 153 h 652"/>
                <a:gd name="T76" fmla="*/ 542 w 652"/>
                <a:gd name="T77" fmla="*/ 240 h 652"/>
                <a:gd name="T78" fmla="*/ 547 w 652"/>
                <a:gd name="T79" fmla="*/ 255 h 652"/>
                <a:gd name="T80" fmla="*/ 556 w 652"/>
                <a:gd name="T81" fmla="*/ 297 h 652"/>
                <a:gd name="T82" fmla="*/ 549 w 652"/>
                <a:gd name="T83" fmla="*/ 391 h 652"/>
                <a:gd name="T84" fmla="*/ 540 w 652"/>
                <a:gd name="T85" fmla="*/ 416 h 652"/>
                <a:gd name="T86" fmla="*/ 532 w 652"/>
                <a:gd name="T87" fmla="*/ 43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2" h="652">
                  <a:moveTo>
                    <a:pt x="573" y="540"/>
                  </a:moveTo>
                  <a:cubicBezTo>
                    <a:pt x="632" y="441"/>
                    <a:pt x="632" y="441"/>
                    <a:pt x="632" y="441"/>
                  </a:cubicBezTo>
                  <a:cubicBezTo>
                    <a:pt x="597" y="420"/>
                    <a:pt x="597" y="420"/>
                    <a:pt x="597" y="420"/>
                  </a:cubicBezTo>
                  <a:cubicBezTo>
                    <a:pt x="609" y="385"/>
                    <a:pt x="614" y="348"/>
                    <a:pt x="612" y="313"/>
                  </a:cubicBezTo>
                  <a:cubicBezTo>
                    <a:pt x="652" y="303"/>
                    <a:pt x="652" y="303"/>
                    <a:pt x="652" y="303"/>
                  </a:cubicBezTo>
                  <a:cubicBezTo>
                    <a:pt x="623" y="191"/>
                    <a:pt x="623" y="191"/>
                    <a:pt x="623" y="191"/>
                  </a:cubicBezTo>
                  <a:cubicBezTo>
                    <a:pt x="584" y="201"/>
                    <a:pt x="584" y="201"/>
                    <a:pt x="584" y="201"/>
                  </a:cubicBezTo>
                  <a:cubicBezTo>
                    <a:pt x="568" y="168"/>
                    <a:pt x="547" y="139"/>
                    <a:pt x="519" y="114"/>
                  </a:cubicBezTo>
                  <a:cubicBezTo>
                    <a:pt x="540" y="79"/>
                    <a:pt x="540" y="79"/>
                    <a:pt x="540" y="79"/>
                  </a:cubicBezTo>
                  <a:cubicBezTo>
                    <a:pt x="441" y="20"/>
                    <a:pt x="441" y="20"/>
                    <a:pt x="441" y="20"/>
                  </a:cubicBezTo>
                  <a:cubicBezTo>
                    <a:pt x="420" y="55"/>
                    <a:pt x="420" y="55"/>
                    <a:pt x="420" y="55"/>
                  </a:cubicBezTo>
                  <a:cubicBezTo>
                    <a:pt x="385" y="42"/>
                    <a:pt x="349" y="37"/>
                    <a:pt x="313" y="39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201" y="67"/>
                    <a:pt x="201" y="67"/>
                    <a:pt x="201" y="67"/>
                  </a:cubicBezTo>
                  <a:cubicBezTo>
                    <a:pt x="168" y="83"/>
                    <a:pt x="139" y="105"/>
                    <a:pt x="114" y="132"/>
                  </a:cubicBezTo>
                  <a:cubicBezTo>
                    <a:pt x="79" y="111"/>
                    <a:pt x="79" y="111"/>
                    <a:pt x="79" y="111"/>
                  </a:cubicBezTo>
                  <a:cubicBezTo>
                    <a:pt x="20" y="211"/>
                    <a:pt x="20" y="211"/>
                    <a:pt x="20" y="211"/>
                  </a:cubicBezTo>
                  <a:cubicBezTo>
                    <a:pt x="55" y="232"/>
                    <a:pt x="55" y="232"/>
                    <a:pt x="55" y="232"/>
                  </a:cubicBezTo>
                  <a:cubicBezTo>
                    <a:pt x="42" y="267"/>
                    <a:pt x="37" y="303"/>
                    <a:pt x="39" y="33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28" y="461"/>
                    <a:pt x="28" y="461"/>
                    <a:pt x="28" y="461"/>
                  </a:cubicBezTo>
                  <a:cubicBezTo>
                    <a:pt x="68" y="451"/>
                    <a:pt x="68" y="451"/>
                    <a:pt x="68" y="451"/>
                  </a:cubicBezTo>
                  <a:cubicBezTo>
                    <a:pt x="83" y="483"/>
                    <a:pt x="105" y="513"/>
                    <a:pt x="132" y="538"/>
                  </a:cubicBezTo>
                  <a:cubicBezTo>
                    <a:pt x="111" y="573"/>
                    <a:pt x="111" y="573"/>
                    <a:pt x="111" y="573"/>
                  </a:cubicBezTo>
                  <a:cubicBezTo>
                    <a:pt x="211" y="632"/>
                    <a:pt x="211" y="632"/>
                    <a:pt x="211" y="632"/>
                  </a:cubicBezTo>
                  <a:cubicBezTo>
                    <a:pt x="232" y="597"/>
                    <a:pt x="232" y="597"/>
                    <a:pt x="232" y="597"/>
                  </a:cubicBezTo>
                  <a:cubicBezTo>
                    <a:pt x="267" y="609"/>
                    <a:pt x="303" y="614"/>
                    <a:pt x="339" y="612"/>
                  </a:cubicBezTo>
                  <a:cubicBezTo>
                    <a:pt x="349" y="652"/>
                    <a:pt x="349" y="652"/>
                    <a:pt x="349" y="652"/>
                  </a:cubicBezTo>
                  <a:cubicBezTo>
                    <a:pt x="461" y="623"/>
                    <a:pt x="461" y="623"/>
                    <a:pt x="461" y="623"/>
                  </a:cubicBezTo>
                  <a:cubicBezTo>
                    <a:pt x="451" y="584"/>
                    <a:pt x="451" y="584"/>
                    <a:pt x="451" y="584"/>
                  </a:cubicBezTo>
                  <a:cubicBezTo>
                    <a:pt x="483" y="568"/>
                    <a:pt x="513" y="547"/>
                    <a:pt x="538" y="519"/>
                  </a:cubicBezTo>
                  <a:lnTo>
                    <a:pt x="573" y="540"/>
                  </a:lnTo>
                  <a:close/>
                  <a:moveTo>
                    <a:pt x="518" y="456"/>
                  </a:moveTo>
                  <a:cubicBezTo>
                    <a:pt x="518" y="457"/>
                    <a:pt x="517" y="458"/>
                    <a:pt x="516" y="460"/>
                  </a:cubicBezTo>
                  <a:cubicBezTo>
                    <a:pt x="514" y="462"/>
                    <a:pt x="512" y="465"/>
                    <a:pt x="510" y="467"/>
                  </a:cubicBezTo>
                  <a:cubicBezTo>
                    <a:pt x="509" y="468"/>
                    <a:pt x="508" y="470"/>
                    <a:pt x="508" y="471"/>
                  </a:cubicBezTo>
                  <a:cubicBezTo>
                    <a:pt x="506" y="473"/>
                    <a:pt x="503" y="476"/>
                    <a:pt x="501" y="478"/>
                  </a:cubicBezTo>
                  <a:cubicBezTo>
                    <a:pt x="501" y="479"/>
                    <a:pt x="500" y="480"/>
                    <a:pt x="499" y="481"/>
                  </a:cubicBezTo>
                  <a:cubicBezTo>
                    <a:pt x="496" y="484"/>
                    <a:pt x="493" y="488"/>
                    <a:pt x="490" y="491"/>
                  </a:cubicBezTo>
                  <a:cubicBezTo>
                    <a:pt x="474" y="506"/>
                    <a:pt x="456" y="519"/>
                    <a:pt x="437" y="530"/>
                  </a:cubicBezTo>
                  <a:cubicBezTo>
                    <a:pt x="429" y="534"/>
                    <a:pt x="420" y="539"/>
                    <a:pt x="411" y="542"/>
                  </a:cubicBezTo>
                  <a:cubicBezTo>
                    <a:pt x="411" y="542"/>
                    <a:pt x="410" y="542"/>
                    <a:pt x="410" y="542"/>
                  </a:cubicBezTo>
                  <a:cubicBezTo>
                    <a:pt x="406" y="544"/>
                    <a:pt x="402" y="546"/>
                    <a:pt x="397" y="547"/>
                  </a:cubicBezTo>
                  <a:cubicBezTo>
                    <a:pt x="397" y="547"/>
                    <a:pt x="397" y="547"/>
                    <a:pt x="397" y="547"/>
                  </a:cubicBezTo>
                  <a:cubicBezTo>
                    <a:pt x="388" y="550"/>
                    <a:pt x="378" y="552"/>
                    <a:pt x="369" y="554"/>
                  </a:cubicBezTo>
                  <a:cubicBezTo>
                    <a:pt x="369" y="554"/>
                    <a:pt x="368" y="554"/>
                    <a:pt x="368" y="554"/>
                  </a:cubicBezTo>
                  <a:cubicBezTo>
                    <a:pt x="364" y="555"/>
                    <a:pt x="359" y="556"/>
                    <a:pt x="355" y="556"/>
                  </a:cubicBezTo>
                  <a:cubicBezTo>
                    <a:pt x="355" y="556"/>
                    <a:pt x="354" y="557"/>
                    <a:pt x="354" y="557"/>
                  </a:cubicBezTo>
                  <a:cubicBezTo>
                    <a:pt x="344" y="558"/>
                    <a:pt x="335" y="558"/>
                    <a:pt x="325" y="558"/>
                  </a:cubicBezTo>
                  <a:cubicBezTo>
                    <a:pt x="303" y="558"/>
                    <a:pt x="282" y="555"/>
                    <a:pt x="260" y="549"/>
                  </a:cubicBezTo>
                  <a:cubicBezTo>
                    <a:pt x="256" y="548"/>
                    <a:pt x="252" y="546"/>
                    <a:pt x="248" y="545"/>
                  </a:cubicBezTo>
                  <a:cubicBezTo>
                    <a:pt x="246" y="544"/>
                    <a:pt x="245" y="544"/>
                    <a:pt x="244" y="543"/>
                  </a:cubicBezTo>
                  <a:cubicBezTo>
                    <a:pt x="241" y="542"/>
                    <a:pt x="238" y="541"/>
                    <a:pt x="235" y="540"/>
                  </a:cubicBezTo>
                  <a:cubicBezTo>
                    <a:pt x="234" y="539"/>
                    <a:pt x="232" y="539"/>
                    <a:pt x="231" y="538"/>
                  </a:cubicBezTo>
                  <a:cubicBezTo>
                    <a:pt x="228" y="537"/>
                    <a:pt x="225" y="535"/>
                    <a:pt x="222" y="534"/>
                  </a:cubicBezTo>
                  <a:cubicBezTo>
                    <a:pt x="221" y="533"/>
                    <a:pt x="220" y="533"/>
                    <a:pt x="219" y="532"/>
                  </a:cubicBezTo>
                  <a:cubicBezTo>
                    <a:pt x="215" y="530"/>
                    <a:pt x="211" y="528"/>
                    <a:pt x="207" y="526"/>
                  </a:cubicBezTo>
                  <a:cubicBezTo>
                    <a:pt x="203" y="523"/>
                    <a:pt x="199" y="521"/>
                    <a:pt x="195" y="518"/>
                  </a:cubicBezTo>
                  <a:cubicBezTo>
                    <a:pt x="194" y="517"/>
                    <a:pt x="193" y="517"/>
                    <a:pt x="192" y="516"/>
                  </a:cubicBezTo>
                  <a:cubicBezTo>
                    <a:pt x="189" y="514"/>
                    <a:pt x="187" y="512"/>
                    <a:pt x="184" y="510"/>
                  </a:cubicBezTo>
                  <a:cubicBezTo>
                    <a:pt x="183" y="509"/>
                    <a:pt x="182" y="508"/>
                    <a:pt x="181" y="507"/>
                  </a:cubicBezTo>
                  <a:cubicBezTo>
                    <a:pt x="178" y="505"/>
                    <a:pt x="176" y="503"/>
                    <a:pt x="173" y="501"/>
                  </a:cubicBezTo>
                  <a:cubicBezTo>
                    <a:pt x="172" y="500"/>
                    <a:pt x="171" y="500"/>
                    <a:pt x="170" y="499"/>
                  </a:cubicBezTo>
                  <a:cubicBezTo>
                    <a:pt x="167" y="496"/>
                    <a:pt x="164" y="493"/>
                    <a:pt x="161" y="490"/>
                  </a:cubicBezTo>
                  <a:cubicBezTo>
                    <a:pt x="145" y="474"/>
                    <a:pt x="132" y="456"/>
                    <a:pt x="122" y="437"/>
                  </a:cubicBezTo>
                  <a:cubicBezTo>
                    <a:pt x="117" y="429"/>
                    <a:pt x="113" y="420"/>
                    <a:pt x="109" y="411"/>
                  </a:cubicBezTo>
                  <a:cubicBezTo>
                    <a:pt x="109" y="411"/>
                    <a:pt x="109" y="410"/>
                    <a:pt x="109" y="410"/>
                  </a:cubicBezTo>
                  <a:cubicBezTo>
                    <a:pt x="107" y="406"/>
                    <a:pt x="106" y="402"/>
                    <a:pt x="105" y="397"/>
                  </a:cubicBezTo>
                  <a:cubicBezTo>
                    <a:pt x="104" y="397"/>
                    <a:pt x="104" y="397"/>
                    <a:pt x="104" y="397"/>
                  </a:cubicBezTo>
                  <a:cubicBezTo>
                    <a:pt x="101" y="388"/>
                    <a:pt x="99" y="378"/>
                    <a:pt x="97" y="369"/>
                  </a:cubicBezTo>
                  <a:cubicBezTo>
                    <a:pt x="97" y="369"/>
                    <a:pt x="97" y="368"/>
                    <a:pt x="97" y="368"/>
                  </a:cubicBezTo>
                  <a:cubicBezTo>
                    <a:pt x="96" y="364"/>
                    <a:pt x="96" y="359"/>
                    <a:pt x="95" y="355"/>
                  </a:cubicBezTo>
                  <a:cubicBezTo>
                    <a:pt x="95" y="355"/>
                    <a:pt x="95" y="354"/>
                    <a:pt x="95" y="354"/>
                  </a:cubicBezTo>
                  <a:cubicBezTo>
                    <a:pt x="94" y="344"/>
                    <a:pt x="93" y="335"/>
                    <a:pt x="93" y="325"/>
                  </a:cubicBezTo>
                  <a:cubicBezTo>
                    <a:pt x="93" y="303"/>
                    <a:pt x="96" y="281"/>
                    <a:pt x="103" y="260"/>
                  </a:cubicBezTo>
                  <a:cubicBezTo>
                    <a:pt x="104" y="256"/>
                    <a:pt x="105" y="252"/>
                    <a:pt x="107" y="248"/>
                  </a:cubicBezTo>
                  <a:cubicBezTo>
                    <a:pt x="107" y="246"/>
                    <a:pt x="108" y="245"/>
                    <a:pt x="108" y="244"/>
                  </a:cubicBezTo>
                  <a:cubicBezTo>
                    <a:pt x="109" y="241"/>
                    <a:pt x="110" y="238"/>
                    <a:pt x="112" y="235"/>
                  </a:cubicBezTo>
                  <a:cubicBezTo>
                    <a:pt x="112" y="234"/>
                    <a:pt x="113" y="232"/>
                    <a:pt x="113" y="231"/>
                  </a:cubicBezTo>
                  <a:cubicBezTo>
                    <a:pt x="115" y="228"/>
                    <a:pt x="116" y="225"/>
                    <a:pt x="117" y="222"/>
                  </a:cubicBezTo>
                  <a:cubicBezTo>
                    <a:pt x="118" y="221"/>
                    <a:pt x="119" y="220"/>
                    <a:pt x="119" y="219"/>
                  </a:cubicBezTo>
                  <a:cubicBezTo>
                    <a:pt x="121" y="215"/>
                    <a:pt x="124" y="211"/>
                    <a:pt x="126" y="207"/>
                  </a:cubicBezTo>
                  <a:cubicBezTo>
                    <a:pt x="128" y="203"/>
                    <a:pt x="131" y="199"/>
                    <a:pt x="133" y="195"/>
                  </a:cubicBezTo>
                  <a:cubicBezTo>
                    <a:pt x="134" y="194"/>
                    <a:pt x="135" y="193"/>
                    <a:pt x="136" y="192"/>
                  </a:cubicBezTo>
                  <a:cubicBezTo>
                    <a:pt x="138" y="189"/>
                    <a:pt x="139" y="187"/>
                    <a:pt x="141" y="184"/>
                  </a:cubicBezTo>
                  <a:cubicBezTo>
                    <a:pt x="142" y="183"/>
                    <a:pt x="143" y="182"/>
                    <a:pt x="144" y="181"/>
                  </a:cubicBezTo>
                  <a:cubicBezTo>
                    <a:pt x="146" y="178"/>
                    <a:pt x="148" y="176"/>
                    <a:pt x="150" y="173"/>
                  </a:cubicBezTo>
                  <a:cubicBezTo>
                    <a:pt x="151" y="172"/>
                    <a:pt x="152" y="171"/>
                    <a:pt x="153" y="170"/>
                  </a:cubicBezTo>
                  <a:cubicBezTo>
                    <a:pt x="156" y="167"/>
                    <a:pt x="159" y="164"/>
                    <a:pt x="162" y="161"/>
                  </a:cubicBezTo>
                  <a:cubicBezTo>
                    <a:pt x="178" y="145"/>
                    <a:pt x="195" y="132"/>
                    <a:pt x="214" y="122"/>
                  </a:cubicBezTo>
                  <a:cubicBezTo>
                    <a:pt x="223" y="117"/>
                    <a:pt x="232" y="113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6" y="107"/>
                    <a:pt x="250" y="106"/>
                    <a:pt x="254" y="104"/>
                  </a:cubicBezTo>
                  <a:cubicBezTo>
                    <a:pt x="254" y="104"/>
                    <a:pt x="255" y="104"/>
                    <a:pt x="255" y="104"/>
                  </a:cubicBezTo>
                  <a:cubicBezTo>
                    <a:pt x="264" y="101"/>
                    <a:pt x="273" y="99"/>
                    <a:pt x="283" y="97"/>
                  </a:cubicBezTo>
                  <a:cubicBezTo>
                    <a:pt x="283" y="97"/>
                    <a:pt x="283" y="97"/>
                    <a:pt x="283" y="97"/>
                  </a:cubicBezTo>
                  <a:cubicBezTo>
                    <a:pt x="288" y="96"/>
                    <a:pt x="292" y="96"/>
                    <a:pt x="297" y="95"/>
                  </a:cubicBezTo>
                  <a:cubicBezTo>
                    <a:pt x="297" y="95"/>
                    <a:pt x="297" y="95"/>
                    <a:pt x="298" y="95"/>
                  </a:cubicBezTo>
                  <a:cubicBezTo>
                    <a:pt x="307" y="94"/>
                    <a:pt x="317" y="93"/>
                    <a:pt x="326" y="93"/>
                  </a:cubicBezTo>
                  <a:cubicBezTo>
                    <a:pt x="348" y="93"/>
                    <a:pt x="370" y="96"/>
                    <a:pt x="391" y="103"/>
                  </a:cubicBezTo>
                  <a:cubicBezTo>
                    <a:pt x="396" y="104"/>
                    <a:pt x="400" y="105"/>
                    <a:pt x="404" y="107"/>
                  </a:cubicBezTo>
                  <a:cubicBezTo>
                    <a:pt x="405" y="107"/>
                    <a:pt x="406" y="108"/>
                    <a:pt x="407" y="108"/>
                  </a:cubicBezTo>
                  <a:cubicBezTo>
                    <a:pt x="410" y="109"/>
                    <a:pt x="413" y="110"/>
                    <a:pt x="416" y="112"/>
                  </a:cubicBezTo>
                  <a:cubicBezTo>
                    <a:pt x="418" y="112"/>
                    <a:pt x="419" y="113"/>
                    <a:pt x="420" y="113"/>
                  </a:cubicBezTo>
                  <a:cubicBezTo>
                    <a:pt x="423" y="115"/>
                    <a:pt x="426" y="116"/>
                    <a:pt x="429" y="117"/>
                  </a:cubicBezTo>
                  <a:cubicBezTo>
                    <a:pt x="430" y="118"/>
                    <a:pt x="432" y="119"/>
                    <a:pt x="433" y="119"/>
                  </a:cubicBezTo>
                  <a:cubicBezTo>
                    <a:pt x="437" y="121"/>
                    <a:pt x="441" y="124"/>
                    <a:pt x="445" y="126"/>
                  </a:cubicBezTo>
                  <a:cubicBezTo>
                    <a:pt x="449" y="128"/>
                    <a:pt x="453" y="131"/>
                    <a:pt x="456" y="133"/>
                  </a:cubicBezTo>
                  <a:cubicBezTo>
                    <a:pt x="457" y="134"/>
                    <a:pt x="459" y="135"/>
                    <a:pt x="460" y="136"/>
                  </a:cubicBezTo>
                  <a:cubicBezTo>
                    <a:pt x="462" y="137"/>
                    <a:pt x="465" y="139"/>
                    <a:pt x="467" y="141"/>
                  </a:cubicBezTo>
                  <a:cubicBezTo>
                    <a:pt x="469" y="142"/>
                    <a:pt x="470" y="143"/>
                    <a:pt x="471" y="144"/>
                  </a:cubicBezTo>
                  <a:cubicBezTo>
                    <a:pt x="473" y="146"/>
                    <a:pt x="476" y="148"/>
                    <a:pt x="478" y="150"/>
                  </a:cubicBezTo>
                  <a:cubicBezTo>
                    <a:pt x="479" y="151"/>
                    <a:pt x="480" y="152"/>
                    <a:pt x="481" y="153"/>
                  </a:cubicBezTo>
                  <a:cubicBezTo>
                    <a:pt x="484" y="156"/>
                    <a:pt x="488" y="159"/>
                    <a:pt x="491" y="162"/>
                  </a:cubicBezTo>
                  <a:cubicBezTo>
                    <a:pt x="506" y="177"/>
                    <a:pt x="520" y="195"/>
                    <a:pt x="530" y="214"/>
                  </a:cubicBezTo>
                  <a:cubicBezTo>
                    <a:pt x="535" y="223"/>
                    <a:pt x="539" y="231"/>
                    <a:pt x="542" y="240"/>
                  </a:cubicBezTo>
                  <a:cubicBezTo>
                    <a:pt x="542" y="241"/>
                    <a:pt x="542" y="241"/>
                    <a:pt x="542" y="241"/>
                  </a:cubicBezTo>
                  <a:cubicBezTo>
                    <a:pt x="544" y="246"/>
                    <a:pt x="546" y="250"/>
                    <a:pt x="547" y="254"/>
                  </a:cubicBezTo>
                  <a:cubicBezTo>
                    <a:pt x="547" y="254"/>
                    <a:pt x="547" y="255"/>
                    <a:pt x="547" y="255"/>
                  </a:cubicBezTo>
                  <a:cubicBezTo>
                    <a:pt x="550" y="264"/>
                    <a:pt x="553" y="273"/>
                    <a:pt x="554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5" y="288"/>
                    <a:pt x="556" y="292"/>
                    <a:pt x="556" y="297"/>
                  </a:cubicBezTo>
                  <a:cubicBezTo>
                    <a:pt x="557" y="297"/>
                    <a:pt x="557" y="297"/>
                    <a:pt x="557" y="298"/>
                  </a:cubicBezTo>
                  <a:cubicBezTo>
                    <a:pt x="558" y="307"/>
                    <a:pt x="558" y="317"/>
                    <a:pt x="558" y="326"/>
                  </a:cubicBezTo>
                  <a:cubicBezTo>
                    <a:pt x="558" y="348"/>
                    <a:pt x="555" y="370"/>
                    <a:pt x="549" y="391"/>
                  </a:cubicBezTo>
                  <a:cubicBezTo>
                    <a:pt x="548" y="396"/>
                    <a:pt x="546" y="400"/>
                    <a:pt x="545" y="404"/>
                  </a:cubicBezTo>
                  <a:cubicBezTo>
                    <a:pt x="544" y="405"/>
                    <a:pt x="544" y="406"/>
                    <a:pt x="544" y="407"/>
                  </a:cubicBezTo>
                  <a:cubicBezTo>
                    <a:pt x="542" y="410"/>
                    <a:pt x="541" y="413"/>
                    <a:pt x="540" y="416"/>
                  </a:cubicBezTo>
                  <a:cubicBezTo>
                    <a:pt x="539" y="418"/>
                    <a:pt x="539" y="419"/>
                    <a:pt x="538" y="420"/>
                  </a:cubicBezTo>
                  <a:cubicBezTo>
                    <a:pt x="537" y="423"/>
                    <a:pt x="536" y="426"/>
                    <a:pt x="534" y="429"/>
                  </a:cubicBezTo>
                  <a:cubicBezTo>
                    <a:pt x="533" y="430"/>
                    <a:pt x="533" y="432"/>
                    <a:pt x="532" y="433"/>
                  </a:cubicBezTo>
                  <a:cubicBezTo>
                    <a:pt x="530" y="437"/>
                    <a:pt x="528" y="441"/>
                    <a:pt x="526" y="445"/>
                  </a:cubicBezTo>
                  <a:cubicBezTo>
                    <a:pt x="523" y="449"/>
                    <a:pt x="521" y="452"/>
                    <a:pt x="518" y="45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1D796A05-699F-49E4-A55B-71856D1E1C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9880973" y="4651573"/>
            <a:ext cx="2311027" cy="31708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F36093-CE74-44A0-9F4B-EBE08B602002}"/>
              </a:ext>
            </a:extLst>
          </p:cNvPr>
          <p:cNvSpPr txBox="1">
            <a:spLocks/>
          </p:cNvSpPr>
          <p:nvPr/>
        </p:nvSpPr>
        <p:spPr>
          <a:xfrm>
            <a:off x="584200" y="292099"/>
            <a:ext cx="11023600" cy="7778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DASAR HUKUM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B5C3DE8-525E-45FA-A433-84DD47644FB7}"/>
              </a:ext>
            </a:extLst>
          </p:cNvPr>
          <p:cNvSpPr txBox="1">
            <a:spLocks/>
          </p:cNvSpPr>
          <p:nvPr/>
        </p:nvSpPr>
        <p:spPr>
          <a:xfrm>
            <a:off x="613847" y="948544"/>
            <a:ext cx="11023600" cy="7778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PP No. 17 Th. 2018 </a:t>
            </a:r>
            <a:r>
              <a:rPr lang="en-US" sz="2400" dirty="0" err="1"/>
              <a:t>ttg</a:t>
            </a:r>
            <a:r>
              <a:rPr lang="en-US" sz="2400" dirty="0"/>
              <a:t> </a:t>
            </a:r>
            <a:r>
              <a:rPr lang="en-US" sz="2400" dirty="0" err="1"/>
              <a:t>Kecamatan</a:t>
            </a: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30EF8E-9FA1-408A-B4EC-DF8DA8445158}"/>
              </a:ext>
            </a:extLst>
          </p:cNvPr>
          <p:cNvSpPr txBox="1"/>
          <p:nvPr/>
        </p:nvSpPr>
        <p:spPr>
          <a:xfrm>
            <a:off x="162232" y="1430598"/>
            <a:ext cx="2241755" cy="369332"/>
          </a:xfrm>
          <a:prstGeom prst="rect">
            <a:avLst/>
          </a:prstGeom>
          <a:solidFill>
            <a:srgbClr val="1D8164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err="1">
                <a:latin typeface="+mj-lt"/>
              </a:rPr>
              <a:t>Pasal</a:t>
            </a:r>
            <a:r>
              <a:rPr lang="en-US" b="1" dirty="0">
                <a:latin typeface="+mj-lt"/>
              </a:rPr>
              <a:t> 11</a:t>
            </a:r>
            <a:endParaRPr lang="en-ID" b="1" dirty="0">
              <a:latin typeface="+mj-lt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4783AA1-ADC3-4DE6-8B6B-477D8B931BBC}"/>
              </a:ext>
            </a:extLst>
          </p:cNvPr>
          <p:cNvCxnSpPr/>
          <p:nvPr/>
        </p:nvCxnSpPr>
        <p:spPr>
          <a:xfrm>
            <a:off x="162232" y="1799930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2B1AF24-069E-4D4B-9992-D84375093666}"/>
              </a:ext>
            </a:extLst>
          </p:cNvPr>
          <p:cNvCxnSpPr/>
          <p:nvPr/>
        </p:nvCxnSpPr>
        <p:spPr>
          <a:xfrm>
            <a:off x="181898" y="2940469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996CF03-3AAC-4174-9AAA-28C6A27E26BC}"/>
              </a:ext>
            </a:extLst>
          </p:cNvPr>
          <p:cNvSpPr txBox="1"/>
          <p:nvPr/>
        </p:nvSpPr>
        <p:spPr>
          <a:xfrm>
            <a:off x="201052" y="1942520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1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9CE41B-4AE9-4D6D-B0FD-61710826EC53}"/>
              </a:ext>
            </a:extLst>
          </p:cNvPr>
          <p:cNvSpPr txBox="1"/>
          <p:nvPr/>
        </p:nvSpPr>
        <p:spPr>
          <a:xfrm>
            <a:off x="1416305" y="1853814"/>
            <a:ext cx="4726858" cy="11695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400" dirty="0" err="1">
                <a:latin typeface="+mj-lt"/>
              </a:rPr>
              <a:t>Cama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ndapat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impah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bag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wena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upati</a:t>
            </a:r>
            <a:r>
              <a:rPr lang="en-US" sz="1400" dirty="0">
                <a:latin typeface="+mj-lt"/>
              </a:rPr>
              <a:t>/</a:t>
            </a:r>
            <a:r>
              <a:rPr lang="en-US" sz="1400" dirty="0" err="1">
                <a:latin typeface="+mj-lt"/>
              </a:rPr>
              <a:t>wal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ota</a:t>
            </a:r>
            <a:r>
              <a:rPr lang="en-US" sz="1400" dirty="0">
                <a:latin typeface="+mj-lt"/>
              </a:rPr>
              <a:t> a. </a:t>
            </a:r>
            <a:r>
              <a:rPr lang="en-US" sz="1400" dirty="0" err="1">
                <a:latin typeface="+mj-lt"/>
              </a:rPr>
              <a:t>untu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laksana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bag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Urus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erintahan</a:t>
            </a:r>
            <a:r>
              <a:rPr lang="en-US" sz="1400" dirty="0">
                <a:latin typeface="+mj-lt"/>
              </a:rPr>
              <a:t> yang </a:t>
            </a:r>
            <a:r>
              <a:rPr lang="en-US" sz="1400" dirty="0" err="1">
                <a:latin typeface="+mj-lt"/>
              </a:rPr>
              <a:t>menjad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wenangan</a:t>
            </a:r>
            <a:r>
              <a:rPr lang="en-US" sz="1400" dirty="0">
                <a:latin typeface="+mj-lt"/>
              </a:rPr>
              <a:t> Daerah </a:t>
            </a:r>
            <a:r>
              <a:rPr lang="en-US" sz="1400" dirty="0" err="1">
                <a:latin typeface="+mj-lt"/>
              </a:rPr>
              <a:t>Kabupaten</a:t>
            </a:r>
            <a:r>
              <a:rPr lang="en-US" sz="1400" dirty="0">
                <a:latin typeface="+mj-lt"/>
              </a:rPr>
              <a:t>/Kota dan b. </a:t>
            </a:r>
            <a:r>
              <a:rPr lang="en-US" sz="1400" dirty="0" err="1">
                <a:latin typeface="+mj-lt"/>
              </a:rPr>
              <a:t>untu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laksana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uga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bantuan</a:t>
            </a:r>
            <a:endParaRPr lang="en-ID" sz="1400" dirty="0">
              <a:latin typeface="+mj-lt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1332C3C-F4F6-4685-A35B-BD6A8BDF90D7}"/>
              </a:ext>
            </a:extLst>
          </p:cNvPr>
          <p:cNvCxnSpPr/>
          <p:nvPr/>
        </p:nvCxnSpPr>
        <p:spPr>
          <a:xfrm>
            <a:off x="172066" y="3491081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453E0F0A-6587-462A-BD81-8071301E2904}"/>
              </a:ext>
            </a:extLst>
          </p:cNvPr>
          <p:cNvSpPr txBox="1"/>
          <p:nvPr/>
        </p:nvSpPr>
        <p:spPr>
          <a:xfrm>
            <a:off x="152399" y="3056429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2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8DF9DFB-6788-48DE-A5ED-97B9F6D4A120}"/>
              </a:ext>
            </a:extLst>
          </p:cNvPr>
          <p:cNvCxnSpPr/>
          <p:nvPr/>
        </p:nvCxnSpPr>
        <p:spPr>
          <a:xfrm>
            <a:off x="176984" y="4484138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427427F-891C-4765-A726-ED8F722A24BD}"/>
              </a:ext>
            </a:extLst>
          </p:cNvPr>
          <p:cNvSpPr txBox="1"/>
          <p:nvPr/>
        </p:nvSpPr>
        <p:spPr>
          <a:xfrm>
            <a:off x="157317" y="3610574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3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21A6108-6827-4119-8966-10463CA7782D}"/>
              </a:ext>
            </a:extLst>
          </p:cNvPr>
          <p:cNvCxnSpPr/>
          <p:nvPr/>
        </p:nvCxnSpPr>
        <p:spPr>
          <a:xfrm>
            <a:off x="181902" y="5019997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F6523F63-72BF-423C-A013-D42BBD3DC524}"/>
              </a:ext>
            </a:extLst>
          </p:cNvPr>
          <p:cNvSpPr txBox="1"/>
          <p:nvPr/>
        </p:nvSpPr>
        <p:spPr>
          <a:xfrm>
            <a:off x="162235" y="4500001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4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12894F-6E6E-4633-BEE6-93D9C758DC0D}"/>
              </a:ext>
            </a:extLst>
          </p:cNvPr>
          <p:cNvSpPr txBox="1"/>
          <p:nvPr/>
        </p:nvSpPr>
        <p:spPr>
          <a:xfrm>
            <a:off x="1374060" y="3014464"/>
            <a:ext cx="4734236" cy="5232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400" dirty="0">
                <a:latin typeface="+mj-lt"/>
              </a:rPr>
              <a:t>Sebagian </a:t>
            </a:r>
            <a:r>
              <a:rPr lang="en-US" sz="1400" dirty="0" err="1">
                <a:latin typeface="+mj-lt"/>
              </a:rPr>
              <a:t>urus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erintahan</a:t>
            </a:r>
            <a:r>
              <a:rPr lang="en-US" sz="1400" dirty="0">
                <a:latin typeface="+mj-lt"/>
              </a:rPr>
              <a:t> yang </a:t>
            </a:r>
            <a:r>
              <a:rPr lang="en-US" sz="1400" dirty="0" err="1">
                <a:latin typeface="+mj-lt"/>
              </a:rPr>
              <a:t>dilimpah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rdir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ata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 dan </a:t>
            </a:r>
            <a:r>
              <a:rPr lang="en-US" sz="1400" dirty="0" err="1">
                <a:latin typeface="+mj-lt"/>
              </a:rPr>
              <a:t>nonperizinan</a:t>
            </a:r>
            <a:endParaRPr lang="en-ID" sz="1400" dirty="0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922D7-F5BB-4EFF-9F94-CCD177D3ADB5}"/>
              </a:ext>
            </a:extLst>
          </p:cNvPr>
          <p:cNvSpPr txBox="1"/>
          <p:nvPr/>
        </p:nvSpPr>
        <p:spPr>
          <a:xfrm>
            <a:off x="1378977" y="3520831"/>
            <a:ext cx="4734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sana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riteria</a:t>
            </a:r>
            <a:r>
              <a:rPr lang="en-US" sz="1400" dirty="0">
                <a:latin typeface="+mj-lt"/>
              </a:rPr>
              <a:t>: a. proses </a:t>
            </a:r>
            <a:r>
              <a:rPr lang="en-US" sz="1400" dirty="0" err="1">
                <a:latin typeface="+mj-lt"/>
              </a:rPr>
              <a:t>sederhana</a:t>
            </a:r>
            <a:r>
              <a:rPr lang="en-US" sz="1400" dirty="0">
                <a:latin typeface="+mj-lt"/>
              </a:rPr>
              <a:t>; b. </a:t>
            </a:r>
            <a:r>
              <a:rPr lang="en-US" sz="1400" dirty="0" err="1">
                <a:latin typeface="+mj-lt"/>
              </a:rPr>
              <a:t>obje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erska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cil</a:t>
            </a:r>
            <a:r>
              <a:rPr lang="en-US" sz="1400" dirty="0">
                <a:latin typeface="+mj-lt"/>
              </a:rPr>
              <a:t>; c. </a:t>
            </a:r>
            <a:r>
              <a:rPr lang="en-US" sz="1400" dirty="0" err="1">
                <a:latin typeface="+mj-lt"/>
              </a:rPr>
              <a:t>tida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merl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aj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knis</a:t>
            </a:r>
            <a:r>
              <a:rPr lang="en-US" sz="1400" dirty="0">
                <a:latin typeface="+mj-lt"/>
              </a:rPr>
              <a:t> yang </a:t>
            </a:r>
            <a:r>
              <a:rPr lang="en-US" sz="1400" dirty="0" err="1">
                <a:latin typeface="+mj-lt"/>
              </a:rPr>
              <a:t>kompleks</a:t>
            </a:r>
            <a:r>
              <a:rPr lang="en-US" sz="1400" dirty="0">
                <a:latin typeface="+mj-lt"/>
              </a:rPr>
              <a:t>; dan d. </a:t>
            </a:r>
            <a:r>
              <a:rPr lang="en-US" sz="1400" dirty="0" err="1">
                <a:latin typeface="+mj-lt"/>
              </a:rPr>
              <a:t>tida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merl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knolog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inggi</a:t>
            </a:r>
            <a:endParaRPr lang="en-ID" sz="14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DA79DB-B2F7-4C01-9815-5CC7D55A2B07}"/>
              </a:ext>
            </a:extLst>
          </p:cNvPr>
          <p:cNvSpPr txBox="1"/>
          <p:nvPr/>
        </p:nvSpPr>
        <p:spPr>
          <a:xfrm>
            <a:off x="1383894" y="4484391"/>
            <a:ext cx="4734236" cy="5232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lalu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rpadu</a:t>
            </a:r>
            <a:endParaRPr lang="en-ID" sz="1400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FBEBC8-3D3F-41E1-B751-3FFA23A8A2EA}"/>
              </a:ext>
            </a:extLst>
          </p:cNvPr>
          <p:cNvSpPr txBox="1"/>
          <p:nvPr/>
        </p:nvSpPr>
        <p:spPr>
          <a:xfrm>
            <a:off x="1388811" y="5020250"/>
            <a:ext cx="4734236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Pelaksana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kembang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baga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inovas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ubli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sua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tentu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UU</a:t>
            </a:r>
            <a:endParaRPr lang="en-ID" sz="1400" dirty="0">
              <a:latin typeface="+mj-lt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9763703-02FB-4EC2-BEA7-211760CB5989}"/>
              </a:ext>
            </a:extLst>
          </p:cNvPr>
          <p:cNvCxnSpPr/>
          <p:nvPr/>
        </p:nvCxnSpPr>
        <p:spPr>
          <a:xfrm>
            <a:off x="186821" y="5791830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71E27AA8-F338-4A5B-88C7-B8AC82A2C3B3}"/>
              </a:ext>
            </a:extLst>
          </p:cNvPr>
          <p:cNvSpPr txBox="1"/>
          <p:nvPr/>
        </p:nvSpPr>
        <p:spPr>
          <a:xfrm>
            <a:off x="167154" y="5064570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5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374944C-E50E-418C-8695-171CFAB8FBDB}"/>
              </a:ext>
            </a:extLst>
          </p:cNvPr>
          <p:cNvCxnSpPr/>
          <p:nvPr/>
        </p:nvCxnSpPr>
        <p:spPr>
          <a:xfrm>
            <a:off x="176989" y="6814383"/>
            <a:ext cx="593376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A0D70662-3053-42C5-84E0-10AF16DDB32D}"/>
              </a:ext>
            </a:extLst>
          </p:cNvPr>
          <p:cNvSpPr txBox="1"/>
          <p:nvPr/>
        </p:nvSpPr>
        <p:spPr>
          <a:xfrm>
            <a:off x="169514" y="5831091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6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EE6D28-7396-4048-8E71-FB1D57966855}"/>
              </a:ext>
            </a:extLst>
          </p:cNvPr>
          <p:cNvSpPr txBox="1"/>
          <p:nvPr/>
        </p:nvSpPr>
        <p:spPr>
          <a:xfrm>
            <a:off x="1378978" y="5792085"/>
            <a:ext cx="47342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Nonperizi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riteria</a:t>
            </a:r>
            <a:r>
              <a:rPr lang="en-US" sz="1400" dirty="0">
                <a:latin typeface="+mj-lt"/>
              </a:rPr>
              <a:t>: a. </a:t>
            </a:r>
            <a:r>
              <a:rPr lang="en-US" sz="1400" dirty="0" err="1">
                <a:latin typeface="+mj-lt"/>
              </a:rPr>
              <a:t>berkait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ngawas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terhadap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obje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izinan</a:t>
            </a:r>
            <a:r>
              <a:rPr lang="en-US" sz="1400" dirty="0">
                <a:latin typeface="+mj-lt"/>
              </a:rPr>
              <a:t>; b. </a:t>
            </a:r>
            <a:r>
              <a:rPr lang="en-US" sz="1400" dirty="0" err="1">
                <a:latin typeface="+mj-lt"/>
              </a:rPr>
              <a:t>kegiat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erskal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cil</a:t>
            </a:r>
            <a:r>
              <a:rPr lang="en-US" sz="1400" dirty="0">
                <a:latin typeface="+mj-lt"/>
              </a:rPr>
              <a:t>; dan                  c.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ngsung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p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asy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yg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ersifa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rutin</a:t>
            </a:r>
            <a:endParaRPr lang="en-ID" sz="1400" dirty="0">
              <a:latin typeface="+mj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9EB72D6-BC41-4A7A-BC1A-4A4BBC772619}"/>
              </a:ext>
            </a:extLst>
          </p:cNvPr>
          <p:cNvSpPr txBox="1"/>
          <p:nvPr/>
        </p:nvSpPr>
        <p:spPr>
          <a:xfrm>
            <a:off x="6420463" y="1450264"/>
            <a:ext cx="2241755" cy="369332"/>
          </a:xfrm>
          <a:prstGeom prst="rect">
            <a:avLst/>
          </a:prstGeom>
          <a:solidFill>
            <a:srgbClr val="1D8164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err="1">
                <a:latin typeface="+mj-lt"/>
              </a:rPr>
              <a:t>Pasal</a:t>
            </a:r>
            <a:r>
              <a:rPr lang="en-US" b="1" dirty="0">
                <a:latin typeface="+mj-lt"/>
              </a:rPr>
              <a:t> 11</a:t>
            </a:r>
            <a:endParaRPr lang="en-ID" b="1" dirty="0">
              <a:latin typeface="+mj-lt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EDF43F9-2FC1-4324-AE22-71D56B18D8C3}"/>
              </a:ext>
            </a:extLst>
          </p:cNvPr>
          <p:cNvCxnSpPr>
            <a:cxnSpLocks/>
          </p:cNvCxnSpPr>
          <p:nvPr/>
        </p:nvCxnSpPr>
        <p:spPr>
          <a:xfrm>
            <a:off x="6420463" y="1819596"/>
            <a:ext cx="5573484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011D31F-B209-4593-B3C4-DBD438A566CA}"/>
              </a:ext>
            </a:extLst>
          </p:cNvPr>
          <p:cNvCxnSpPr>
            <a:cxnSpLocks/>
          </p:cNvCxnSpPr>
          <p:nvPr/>
        </p:nvCxnSpPr>
        <p:spPr>
          <a:xfrm>
            <a:off x="6440129" y="2915887"/>
            <a:ext cx="5553818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DEA43B91-27D9-4845-8468-2AF50A82839E}"/>
              </a:ext>
            </a:extLst>
          </p:cNvPr>
          <p:cNvSpPr txBox="1"/>
          <p:nvPr/>
        </p:nvSpPr>
        <p:spPr>
          <a:xfrm>
            <a:off x="6420462" y="1969171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7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759743F-1C58-4B1E-80A6-9BC0EDA7FC65}"/>
              </a:ext>
            </a:extLst>
          </p:cNvPr>
          <p:cNvSpPr txBox="1"/>
          <p:nvPr/>
        </p:nvSpPr>
        <p:spPr>
          <a:xfrm>
            <a:off x="7627373" y="1893591"/>
            <a:ext cx="4366574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400" dirty="0" err="1">
                <a:latin typeface="+mj-lt"/>
              </a:rPr>
              <a:t>Pelimpah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bag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urus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erintah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erdasark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eta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ayan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ubli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sua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arakteristik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camatan</a:t>
            </a:r>
            <a:r>
              <a:rPr lang="en-US" sz="1400" dirty="0">
                <a:latin typeface="+mj-lt"/>
              </a:rPr>
              <a:t> dan/</a:t>
            </a:r>
            <a:r>
              <a:rPr lang="en-US" sz="1400" dirty="0" err="1">
                <a:latin typeface="+mj-lt"/>
              </a:rPr>
              <a:t>atau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butuh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asy</a:t>
            </a:r>
            <a:r>
              <a:rPr lang="en-US" sz="1400" dirty="0">
                <a:latin typeface="+mj-lt"/>
              </a:rPr>
              <a:t>. </a:t>
            </a:r>
            <a:r>
              <a:rPr lang="en-US" sz="1400" dirty="0" err="1">
                <a:latin typeface="+mj-lt"/>
              </a:rPr>
              <a:t>setempat</a:t>
            </a:r>
            <a:endParaRPr lang="en-ID" sz="1400" dirty="0">
              <a:latin typeface="+mj-lt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F3CFFEB-8475-4A4C-9456-C2044BAD3CCD}"/>
              </a:ext>
            </a:extLst>
          </p:cNvPr>
          <p:cNvCxnSpPr>
            <a:cxnSpLocks/>
          </p:cNvCxnSpPr>
          <p:nvPr/>
        </p:nvCxnSpPr>
        <p:spPr>
          <a:xfrm>
            <a:off x="6430297" y="3997445"/>
            <a:ext cx="5563650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594790F4-F9BF-4AF5-8A69-DD8173BAE2F7}"/>
              </a:ext>
            </a:extLst>
          </p:cNvPr>
          <p:cNvSpPr txBox="1"/>
          <p:nvPr/>
        </p:nvSpPr>
        <p:spPr>
          <a:xfrm>
            <a:off x="6410630" y="3087305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8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A9F47B3-FD6C-47A1-9A53-E46810571DBA}"/>
              </a:ext>
            </a:extLst>
          </p:cNvPr>
          <p:cNvCxnSpPr>
            <a:cxnSpLocks/>
          </p:cNvCxnSpPr>
          <p:nvPr/>
        </p:nvCxnSpPr>
        <p:spPr>
          <a:xfrm>
            <a:off x="6435215" y="5329714"/>
            <a:ext cx="4697733" cy="0"/>
          </a:xfrm>
          <a:prstGeom prst="line">
            <a:avLst/>
          </a:prstGeom>
          <a:ln w="19050">
            <a:solidFill>
              <a:srgbClr val="9BE9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3E747986-C7AE-4939-921D-177109CB6355}"/>
              </a:ext>
            </a:extLst>
          </p:cNvPr>
          <p:cNvSpPr txBox="1"/>
          <p:nvPr/>
        </p:nvSpPr>
        <p:spPr>
          <a:xfrm>
            <a:off x="6415548" y="4236694"/>
            <a:ext cx="1135627" cy="369332"/>
          </a:xfrm>
          <a:prstGeom prst="rect">
            <a:avLst/>
          </a:prstGeom>
          <a:noFill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ysClr val="windowText" lastClr="000000"/>
                </a:solidFill>
                <a:latin typeface="+mj-lt"/>
              </a:rPr>
              <a:t>Ayat (9)</a:t>
            </a:r>
            <a:endParaRPr lang="en-ID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B8A8BD3-0FA3-473D-BE93-2C344DC6971F}"/>
              </a:ext>
            </a:extLst>
          </p:cNvPr>
          <p:cNvSpPr txBox="1"/>
          <p:nvPr/>
        </p:nvSpPr>
        <p:spPr>
          <a:xfrm>
            <a:off x="7632291" y="3048882"/>
            <a:ext cx="43616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Tugas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mbantu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lakukan</a:t>
            </a:r>
            <a:r>
              <a:rPr lang="en-US" sz="1400" dirty="0">
                <a:latin typeface="+mj-lt"/>
              </a:rPr>
              <a:t> oleh </a:t>
            </a:r>
            <a:r>
              <a:rPr lang="en-US" sz="1400" dirty="0" err="1">
                <a:latin typeface="+mj-lt"/>
              </a:rPr>
              <a:t>cama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sua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tentu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atur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undang-undangan</a:t>
            </a:r>
            <a:endParaRPr lang="en-ID" sz="1400" dirty="0"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6C308D6-586D-4F45-98B5-3CC45B37BA10}"/>
              </a:ext>
            </a:extLst>
          </p:cNvPr>
          <p:cNvSpPr txBox="1"/>
          <p:nvPr/>
        </p:nvSpPr>
        <p:spPr>
          <a:xfrm>
            <a:off x="7637208" y="4159931"/>
            <a:ext cx="3495740" cy="11695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400" dirty="0" err="1">
                <a:latin typeface="+mj-lt"/>
              </a:rPr>
              <a:t>Ketentu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ebih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lanju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mengenai</a:t>
            </a:r>
            <a:r>
              <a:rPr lang="en-US" sz="1400" dirty="0">
                <a:latin typeface="+mj-lt"/>
              </a:rPr>
              <a:t> tata </a:t>
            </a:r>
            <a:r>
              <a:rPr lang="en-US" sz="1400" dirty="0" err="1">
                <a:latin typeface="+mj-lt"/>
              </a:rPr>
              <a:t>car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limpah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sebagi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ewena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bupati</a:t>
            </a:r>
            <a:r>
              <a:rPr lang="en-US" sz="1400" dirty="0">
                <a:latin typeface="+mj-lt"/>
              </a:rPr>
              <a:t>/</a:t>
            </a:r>
            <a:r>
              <a:rPr lang="en-US" sz="1400" dirty="0" err="1">
                <a:latin typeface="+mj-lt"/>
              </a:rPr>
              <a:t>wali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ota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kpd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camat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iatur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dengan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 err="1">
                <a:latin typeface="+mj-lt"/>
              </a:rPr>
              <a:t>Peraturan</a:t>
            </a:r>
            <a:r>
              <a:rPr lang="en-US" sz="1400" dirty="0">
                <a:latin typeface="+mj-lt"/>
              </a:rPr>
              <a:t> Menteri</a:t>
            </a:r>
            <a:endParaRPr lang="en-ID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38265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3D887A6-F578-45AC-9A30-A180CDFF4F77}"/>
              </a:ext>
            </a:extLst>
          </p:cNvPr>
          <p:cNvSpPr/>
          <p:nvPr/>
        </p:nvSpPr>
        <p:spPr>
          <a:xfrm>
            <a:off x="3586040" y="1838402"/>
            <a:ext cx="4412832" cy="4902965"/>
          </a:xfrm>
          <a:prstGeom prst="rect">
            <a:avLst/>
          </a:prstGeom>
          <a:solidFill>
            <a:srgbClr val="2A355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62" name="Google Shape;5162;p36"/>
          <p:cNvSpPr txBox="1">
            <a:spLocks noGrp="1"/>
          </p:cNvSpPr>
          <p:nvPr>
            <p:ph type="ctrTitle"/>
          </p:nvPr>
        </p:nvSpPr>
        <p:spPr>
          <a:xfrm flipH="1">
            <a:off x="1040139" y="116632"/>
            <a:ext cx="10744493" cy="672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ID" sz="3600" dirty="0">
                <a:solidFill>
                  <a:sysClr val="windowText" lastClr="000000"/>
                </a:solidFill>
              </a:rPr>
              <a:t>U</a:t>
            </a:r>
            <a:r>
              <a:rPr lang="en" sz="3600" dirty="0">
                <a:solidFill>
                  <a:sysClr val="windowText" lastClr="000000"/>
                </a:solidFill>
              </a:rPr>
              <a:t>RUSAN YANG DAPAT DILIMPAHKAN…</a:t>
            </a:r>
            <a:endParaRPr sz="3600" dirty="0">
              <a:solidFill>
                <a:sysClr val="windowText" lastClr="000000"/>
              </a:solidFill>
            </a:endParaRPr>
          </a:p>
        </p:txBody>
      </p:sp>
      <p:grpSp>
        <p:nvGrpSpPr>
          <p:cNvPr id="5163" name="Google Shape;5163;p36"/>
          <p:cNvGrpSpPr/>
          <p:nvPr/>
        </p:nvGrpSpPr>
        <p:grpSpPr>
          <a:xfrm>
            <a:off x="2467795" y="5971695"/>
            <a:ext cx="940403" cy="769673"/>
            <a:chOff x="4370168" y="1690503"/>
            <a:chExt cx="869027" cy="711256"/>
          </a:xfrm>
        </p:grpSpPr>
        <p:sp>
          <p:nvSpPr>
            <p:cNvPr id="5164" name="Google Shape;5164;p36"/>
            <p:cNvSpPr/>
            <p:nvPr/>
          </p:nvSpPr>
          <p:spPr>
            <a:xfrm>
              <a:off x="4370666" y="1690503"/>
              <a:ext cx="868529" cy="494888"/>
            </a:xfrm>
            <a:custGeom>
              <a:avLst/>
              <a:gdLst/>
              <a:ahLst/>
              <a:cxnLst/>
              <a:rect l="l" t="t" r="r" b="b"/>
              <a:pathLst>
                <a:path w="17457" h="9947" extrusionOk="0">
                  <a:moveTo>
                    <a:pt x="8766" y="0"/>
                  </a:moveTo>
                  <a:lnTo>
                    <a:pt x="1" y="4976"/>
                  </a:lnTo>
                  <a:lnTo>
                    <a:pt x="8691" y="9947"/>
                  </a:lnTo>
                  <a:lnTo>
                    <a:pt x="17456" y="4976"/>
                  </a:lnTo>
                  <a:lnTo>
                    <a:pt x="876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5" name="Google Shape;5165;p36"/>
            <p:cNvSpPr/>
            <p:nvPr/>
          </p:nvSpPr>
          <p:spPr>
            <a:xfrm>
              <a:off x="4800256" y="1937120"/>
              <a:ext cx="436329" cy="464639"/>
            </a:xfrm>
            <a:custGeom>
              <a:avLst/>
              <a:gdLst/>
              <a:ahLst/>
              <a:cxnLst/>
              <a:rect l="l" t="t" r="r" b="b"/>
              <a:pathLst>
                <a:path w="8770" h="9339" extrusionOk="0">
                  <a:moveTo>
                    <a:pt x="8765" y="1"/>
                  </a:moveTo>
                  <a:lnTo>
                    <a:pt x="0" y="4972"/>
                  </a:lnTo>
                  <a:lnTo>
                    <a:pt x="3" y="9338"/>
                  </a:lnTo>
                  <a:lnTo>
                    <a:pt x="8769" y="4363"/>
                  </a:lnTo>
                  <a:lnTo>
                    <a:pt x="8765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6" name="Google Shape;5166;p36"/>
            <p:cNvSpPr/>
            <p:nvPr/>
          </p:nvSpPr>
          <p:spPr>
            <a:xfrm>
              <a:off x="4370168" y="1937120"/>
              <a:ext cx="432598" cy="464639"/>
            </a:xfrm>
            <a:custGeom>
              <a:avLst/>
              <a:gdLst/>
              <a:ahLst/>
              <a:cxnLst/>
              <a:rect l="l" t="t" r="r" b="b"/>
              <a:pathLst>
                <a:path w="8695" h="9339" extrusionOk="0">
                  <a:moveTo>
                    <a:pt x="1" y="1"/>
                  </a:moveTo>
                  <a:lnTo>
                    <a:pt x="4" y="4363"/>
                  </a:lnTo>
                  <a:lnTo>
                    <a:pt x="8694" y="9338"/>
                  </a:lnTo>
                  <a:lnTo>
                    <a:pt x="8691" y="497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67" name="Google Shape;5167;p36"/>
          <p:cNvGrpSpPr/>
          <p:nvPr/>
        </p:nvGrpSpPr>
        <p:grpSpPr>
          <a:xfrm>
            <a:off x="7218515" y="5973748"/>
            <a:ext cx="941160" cy="767620"/>
            <a:chOff x="4368768" y="1694298"/>
            <a:chExt cx="869727" cy="709359"/>
          </a:xfrm>
        </p:grpSpPr>
        <p:sp>
          <p:nvSpPr>
            <p:cNvPr id="5168" name="Google Shape;5168;p36"/>
            <p:cNvSpPr/>
            <p:nvPr/>
          </p:nvSpPr>
          <p:spPr>
            <a:xfrm>
              <a:off x="4368768" y="1694298"/>
              <a:ext cx="868529" cy="494888"/>
            </a:xfrm>
            <a:custGeom>
              <a:avLst/>
              <a:gdLst/>
              <a:ahLst/>
              <a:cxnLst/>
              <a:rect l="l" t="t" r="r" b="b"/>
              <a:pathLst>
                <a:path w="17457" h="9947" extrusionOk="0">
                  <a:moveTo>
                    <a:pt x="8766" y="0"/>
                  </a:moveTo>
                  <a:lnTo>
                    <a:pt x="1" y="4976"/>
                  </a:lnTo>
                  <a:lnTo>
                    <a:pt x="8691" y="9947"/>
                  </a:lnTo>
                  <a:lnTo>
                    <a:pt x="17456" y="4976"/>
                  </a:lnTo>
                  <a:lnTo>
                    <a:pt x="876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9" name="Google Shape;5169;p36"/>
            <p:cNvSpPr/>
            <p:nvPr/>
          </p:nvSpPr>
          <p:spPr>
            <a:xfrm>
              <a:off x="4802165" y="1939017"/>
              <a:ext cx="436329" cy="464639"/>
            </a:xfrm>
            <a:custGeom>
              <a:avLst/>
              <a:gdLst/>
              <a:ahLst/>
              <a:cxnLst/>
              <a:rect l="l" t="t" r="r" b="b"/>
              <a:pathLst>
                <a:path w="8770" h="9339" extrusionOk="0">
                  <a:moveTo>
                    <a:pt x="8765" y="1"/>
                  </a:moveTo>
                  <a:lnTo>
                    <a:pt x="0" y="4972"/>
                  </a:lnTo>
                  <a:lnTo>
                    <a:pt x="3" y="9338"/>
                  </a:lnTo>
                  <a:lnTo>
                    <a:pt x="8769" y="4363"/>
                  </a:lnTo>
                  <a:lnTo>
                    <a:pt x="8765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0" name="Google Shape;5170;p36"/>
            <p:cNvSpPr/>
            <p:nvPr/>
          </p:nvSpPr>
          <p:spPr>
            <a:xfrm>
              <a:off x="4370734" y="1939017"/>
              <a:ext cx="432598" cy="464639"/>
            </a:xfrm>
            <a:custGeom>
              <a:avLst/>
              <a:gdLst/>
              <a:ahLst/>
              <a:cxnLst/>
              <a:rect l="l" t="t" r="r" b="b"/>
              <a:pathLst>
                <a:path w="8695" h="9339" extrusionOk="0">
                  <a:moveTo>
                    <a:pt x="1" y="1"/>
                  </a:moveTo>
                  <a:lnTo>
                    <a:pt x="4" y="4363"/>
                  </a:lnTo>
                  <a:lnTo>
                    <a:pt x="8694" y="9338"/>
                  </a:lnTo>
                  <a:lnTo>
                    <a:pt x="8691" y="497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71" name="Google Shape;5171;p36"/>
          <p:cNvGrpSpPr/>
          <p:nvPr/>
        </p:nvGrpSpPr>
        <p:grpSpPr>
          <a:xfrm>
            <a:off x="10844768" y="5971695"/>
            <a:ext cx="939864" cy="769673"/>
            <a:chOff x="4370666" y="1690503"/>
            <a:chExt cx="868529" cy="711256"/>
          </a:xfrm>
        </p:grpSpPr>
        <p:sp>
          <p:nvSpPr>
            <p:cNvPr id="5172" name="Google Shape;5172;p36"/>
            <p:cNvSpPr/>
            <p:nvPr/>
          </p:nvSpPr>
          <p:spPr>
            <a:xfrm>
              <a:off x="4370666" y="1690503"/>
              <a:ext cx="868529" cy="494888"/>
            </a:xfrm>
            <a:custGeom>
              <a:avLst/>
              <a:gdLst/>
              <a:ahLst/>
              <a:cxnLst/>
              <a:rect l="l" t="t" r="r" b="b"/>
              <a:pathLst>
                <a:path w="17457" h="9947" extrusionOk="0">
                  <a:moveTo>
                    <a:pt x="8766" y="0"/>
                  </a:moveTo>
                  <a:lnTo>
                    <a:pt x="1" y="4976"/>
                  </a:lnTo>
                  <a:lnTo>
                    <a:pt x="8691" y="9947"/>
                  </a:lnTo>
                  <a:lnTo>
                    <a:pt x="17456" y="4976"/>
                  </a:lnTo>
                  <a:lnTo>
                    <a:pt x="8766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3" name="Google Shape;5173;p36"/>
            <p:cNvSpPr/>
            <p:nvPr/>
          </p:nvSpPr>
          <p:spPr>
            <a:xfrm>
              <a:off x="4802165" y="1937120"/>
              <a:ext cx="436329" cy="464639"/>
            </a:xfrm>
            <a:custGeom>
              <a:avLst/>
              <a:gdLst/>
              <a:ahLst/>
              <a:cxnLst/>
              <a:rect l="l" t="t" r="r" b="b"/>
              <a:pathLst>
                <a:path w="8770" h="9339" extrusionOk="0">
                  <a:moveTo>
                    <a:pt x="8765" y="1"/>
                  </a:moveTo>
                  <a:lnTo>
                    <a:pt x="0" y="4972"/>
                  </a:lnTo>
                  <a:lnTo>
                    <a:pt x="3" y="9338"/>
                  </a:lnTo>
                  <a:lnTo>
                    <a:pt x="8769" y="4363"/>
                  </a:lnTo>
                  <a:lnTo>
                    <a:pt x="8765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4" name="Google Shape;5174;p36"/>
            <p:cNvSpPr/>
            <p:nvPr/>
          </p:nvSpPr>
          <p:spPr>
            <a:xfrm>
              <a:off x="4372065" y="1937120"/>
              <a:ext cx="432598" cy="464639"/>
            </a:xfrm>
            <a:custGeom>
              <a:avLst/>
              <a:gdLst/>
              <a:ahLst/>
              <a:cxnLst/>
              <a:rect l="l" t="t" r="r" b="b"/>
              <a:pathLst>
                <a:path w="8695" h="9339" extrusionOk="0">
                  <a:moveTo>
                    <a:pt x="1" y="1"/>
                  </a:moveTo>
                  <a:lnTo>
                    <a:pt x="4" y="4363"/>
                  </a:lnTo>
                  <a:lnTo>
                    <a:pt x="8694" y="9338"/>
                  </a:lnTo>
                  <a:lnTo>
                    <a:pt x="8691" y="4972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75" name="Google Shape;5175;p36"/>
          <p:cNvGrpSpPr/>
          <p:nvPr/>
        </p:nvGrpSpPr>
        <p:grpSpPr>
          <a:xfrm>
            <a:off x="11116194" y="5631511"/>
            <a:ext cx="372943" cy="698015"/>
            <a:chOff x="2597700" y="3340275"/>
            <a:chExt cx="198275" cy="371100"/>
          </a:xfrm>
        </p:grpSpPr>
        <p:sp>
          <p:nvSpPr>
            <p:cNvPr id="5176" name="Google Shape;5176;p36"/>
            <p:cNvSpPr/>
            <p:nvPr/>
          </p:nvSpPr>
          <p:spPr>
            <a:xfrm>
              <a:off x="2597700" y="3340275"/>
              <a:ext cx="198275" cy="370875"/>
            </a:xfrm>
            <a:custGeom>
              <a:avLst/>
              <a:gdLst/>
              <a:ahLst/>
              <a:cxnLst/>
              <a:rect l="l" t="t" r="r" b="b"/>
              <a:pathLst>
                <a:path w="7931" h="14835" extrusionOk="0">
                  <a:moveTo>
                    <a:pt x="3493" y="1"/>
                  </a:moveTo>
                  <a:cubicBezTo>
                    <a:pt x="3428" y="1"/>
                    <a:pt x="3362" y="20"/>
                    <a:pt x="3308" y="60"/>
                  </a:cubicBezTo>
                  <a:cubicBezTo>
                    <a:pt x="3016" y="231"/>
                    <a:pt x="2776" y="670"/>
                    <a:pt x="2776" y="1056"/>
                  </a:cubicBezTo>
                  <a:lnTo>
                    <a:pt x="2776" y="1391"/>
                  </a:lnTo>
                  <a:cubicBezTo>
                    <a:pt x="1281" y="2414"/>
                    <a:pt x="267" y="4183"/>
                    <a:pt x="267" y="5885"/>
                  </a:cubicBezTo>
                  <a:cubicBezTo>
                    <a:pt x="267" y="6804"/>
                    <a:pt x="482" y="7362"/>
                    <a:pt x="920" y="7629"/>
                  </a:cubicBezTo>
                  <a:cubicBezTo>
                    <a:pt x="920" y="7629"/>
                    <a:pt x="2484" y="8617"/>
                    <a:pt x="2827" y="8677"/>
                  </a:cubicBezTo>
                  <a:lnTo>
                    <a:pt x="2827" y="10825"/>
                  </a:lnTo>
                  <a:cubicBezTo>
                    <a:pt x="2559" y="10921"/>
                    <a:pt x="2278" y="10968"/>
                    <a:pt x="1998" y="10968"/>
                  </a:cubicBezTo>
                  <a:cubicBezTo>
                    <a:pt x="1676" y="10968"/>
                    <a:pt x="1356" y="10906"/>
                    <a:pt x="1057" y="10782"/>
                  </a:cubicBezTo>
                  <a:cubicBezTo>
                    <a:pt x="1009" y="10763"/>
                    <a:pt x="959" y="10755"/>
                    <a:pt x="910" y="10755"/>
                  </a:cubicBezTo>
                  <a:cubicBezTo>
                    <a:pt x="821" y="10755"/>
                    <a:pt x="734" y="10783"/>
                    <a:pt x="662" y="10833"/>
                  </a:cubicBezTo>
                  <a:cubicBezTo>
                    <a:pt x="293" y="11048"/>
                    <a:pt x="1" y="11598"/>
                    <a:pt x="1" y="12088"/>
                  </a:cubicBezTo>
                  <a:cubicBezTo>
                    <a:pt x="1" y="12328"/>
                    <a:pt x="61" y="12491"/>
                    <a:pt x="173" y="12586"/>
                  </a:cubicBezTo>
                  <a:cubicBezTo>
                    <a:pt x="173" y="12586"/>
                    <a:pt x="1728" y="13540"/>
                    <a:pt x="1891" y="13574"/>
                  </a:cubicBezTo>
                  <a:cubicBezTo>
                    <a:pt x="2192" y="13686"/>
                    <a:pt x="2509" y="13737"/>
                    <a:pt x="2827" y="13737"/>
                  </a:cubicBezTo>
                  <a:cubicBezTo>
                    <a:pt x="2853" y="13814"/>
                    <a:pt x="2913" y="13875"/>
                    <a:pt x="2982" y="13909"/>
                  </a:cubicBezTo>
                  <a:cubicBezTo>
                    <a:pt x="2982" y="13909"/>
                    <a:pt x="4528" y="14802"/>
                    <a:pt x="4537" y="14811"/>
                  </a:cubicBezTo>
                  <a:cubicBezTo>
                    <a:pt x="4578" y="14827"/>
                    <a:pt x="4620" y="14834"/>
                    <a:pt x="4662" y="14834"/>
                  </a:cubicBezTo>
                  <a:cubicBezTo>
                    <a:pt x="4733" y="14834"/>
                    <a:pt x="4804" y="14812"/>
                    <a:pt x="4863" y="14768"/>
                  </a:cubicBezTo>
                  <a:cubicBezTo>
                    <a:pt x="5147" y="14605"/>
                    <a:pt x="5379" y="14175"/>
                    <a:pt x="5379" y="13789"/>
                  </a:cubicBezTo>
                  <a:lnTo>
                    <a:pt x="5379" y="12835"/>
                  </a:lnTo>
                  <a:cubicBezTo>
                    <a:pt x="6900" y="11761"/>
                    <a:pt x="7922" y="10008"/>
                    <a:pt x="7922" y="8247"/>
                  </a:cubicBezTo>
                  <a:cubicBezTo>
                    <a:pt x="7931" y="7422"/>
                    <a:pt x="7742" y="6864"/>
                    <a:pt x="7329" y="6572"/>
                  </a:cubicBezTo>
                  <a:cubicBezTo>
                    <a:pt x="7269" y="6529"/>
                    <a:pt x="5783" y="5678"/>
                    <a:pt x="5783" y="5678"/>
                  </a:cubicBezTo>
                  <a:cubicBezTo>
                    <a:pt x="5645" y="5584"/>
                    <a:pt x="5499" y="5515"/>
                    <a:pt x="5336" y="5481"/>
                  </a:cubicBezTo>
                  <a:lnTo>
                    <a:pt x="5336" y="3410"/>
                  </a:lnTo>
                  <a:cubicBezTo>
                    <a:pt x="5542" y="3358"/>
                    <a:pt x="5753" y="3332"/>
                    <a:pt x="5964" y="3332"/>
                  </a:cubicBezTo>
                  <a:cubicBezTo>
                    <a:pt x="6165" y="3332"/>
                    <a:pt x="6367" y="3355"/>
                    <a:pt x="6565" y="3402"/>
                  </a:cubicBezTo>
                  <a:cubicBezTo>
                    <a:pt x="6598" y="3408"/>
                    <a:pt x="6632" y="3412"/>
                    <a:pt x="6665" y="3412"/>
                  </a:cubicBezTo>
                  <a:cubicBezTo>
                    <a:pt x="6759" y="3412"/>
                    <a:pt x="6849" y="3386"/>
                    <a:pt x="6925" y="3342"/>
                  </a:cubicBezTo>
                  <a:cubicBezTo>
                    <a:pt x="7295" y="3127"/>
                    <a:pt x="7596" y="2568"/>
                    <a:pt x="7596" y="2070"/>
                  </a:cubicBezTo>
                  <a:cubicBezTo>
                    <a:pt x="7596" y="1821"/>
                    <a:pt x="7527" y="1675"/>
                    <a:pt x="7415" y="1589"/>
                  </a:cubicBezTo>
                  <a:lnTo>
                    <a:pt x="5834" y="670"/>
                  </a:lnTo>
                  <a:cubicBezTo>
                    <a:pt x="5783" y="635"/>
                    <a:pt x="5731" y="618"/>
                    <a:pt x="5671" y="609"/>
                  </a:cubicBezTo>
                  <a:cubicBezTo>
                    <a:pt x="5467" y="556"/>
                    <a:pt x="5257" y="530"/>
                    <a:pt x="5048" y="530"/>
                  </a:cubicBezTo>
                  <a:cubicBezTo>
                    <a:pt x="4888" y="530"/>
                    <a:pt x="4728" y="545"/>
                    <a:pt x="4571" y="575"/>
                  </a:cubicBezTo>
                  <a:lnTo>
                    <a:pt x="3635" y="34"/>
                  </a:lnTo>
                  <a:cubicBezTo>
                    <a:pt x="3591" y="12"/>
                    <a:pt x="3542" y="1"/>
                    <a:pt x="3493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7" name="Google Shape;5177;p36"/>
            <p:cNvSpPr/>
            <p:nvPr/>
          </p:nvSpPr>
          <p:spPr>
            <a:xfrm>
              <a:off x="2636800" y="3362950"/>
              <a:ext cx="158975" cy="348425"/>
            </a:xfrm>
            <a:custGeom>
              <a:avLst/>
              <a:gdLst/>
              <a:ahLst/>
              <a:cxnLst/>
              <a:rect l="l" t="t" r="r" b="b"/>
              <a:pathLst>
                <a:path w="6359" h="13937" extrusionOk="0">
                  <a:moveTo>
                    <a:pt x="2827" y="2950"/>
                  </a:moveTo>
                  <a:lnTo>
                    <a:pt x="2827" y="5777"/>
                  </a:lnTo>
                  <a:cubicBezTo>
                    <a:pt x="2681" y="5797"/>
                    <a:pt x="2553" y="5807"/>
                    <a:pt x="2440" y="5807"/>
                  </a:cubicBezTo>
                  <a:cubicBezTo>
                    <a:pt x="1834" y="5807"/>
                    <a:pt x="1676" y="5518"/>
                    <a:pt x="1676" y="4960"/>
                  </a:cubicBezTo>
                  <a:cubicBezTo>
                    <a:pt x="1676" y="4256"/>
                    <a:pt x="2054" y="3491"/>
                    <a:pt x="2827" y="2950"/>
                  </a:cubicBezTo>
                  <a:close/>
                  <a:moveTo>
                    <a:pt x="4182" y="7406"/>
                  </a:moveTo>
                  <a:cubicBezTo>
                    <a:pt x="4772" y="7406"/>
                    <a:pt x="4949" y="7699"/>
                    <a:pt x="4949" y="8277"/>
                  </a:cubicBezTo>
                  <a:cubicBezTo>
                    <a:pt x="4949" y="9041"/>
                    <a:pt x="4537" y="9797"/>
                    <a:pt x="3763" y="10347"/>
                  </a:cubicBezTo>
                  <a:lnTo>
                    <a:pt x="3763" y="7443"/>
                  </a:lnTo>
                  <a:cubicBezTo>
                    <a:pt x="3922" y="7418"/>
                    <a:pt x="4060" y="7406"/>
                    <a:pt x="4182" y="7406"/>
                  </a:cubicBezTo>
                  <a:close/>
                  <a:moveTo>
                    <a:pt x="3511" y="0"/>
                  </a:moveTo>
                  <a:cubicBezTo>
                    <a:pt x="3447" y="0"/>
                    <a:pt x="3376" y="21"/>
                    <a:pt x="3299" y="63"/>
                  </a:cubicBezTo>
                  <a:cubicBezTo>
                    <a:pt x="3016" y="227"/>
                    <a:pt x="2775" y="665"/>
                    <a:pt x="2775" y="1051"/>
                  </a:cubicBezTo>
                  <a:lnTo>
                    <a:pt x="2775" y="1386"/>
                  </a:lnTo>
                  <a:cubicBezTo>
                    <a:pt x="1280" y="2409"/>
                    <a:pt x="267" y="4179"/>
                    <a:pt x="267" y="5880"/>
                  </a:cubicBezTo>
                  <a:cubicBezTo>
                    <a:pt x="267" y="7275"/>
                    <a:pt x="745" y="7836"/>
                    <a:pt x="1765" y="7836"/>
                  </a:cubicBezTo>
                  <a:cubicBezTo>
                    <a:pt x="2070" y="7836"/>
                    <a:pt x="2423" y="7785"/>
                    <a:pt x="2827" y="7692"/>
                  </a:cubicBezTo>
                  <a:lnTo>
                    <a:pt x="2827" y="10828"/>
                  </a:lnTo>
                  <a:cubicBezTo>
                    <a:pt x="2559" y="10924"/>
                    <a:pt x="2278" y="10972"/>
                    <a:pt x="1997" y="10972"/>
                  </a:cubicBezTo>
                  <a:cubicBezTo>
                    <a:pt x="1676" y="10972"/>
                    <a:pt x="1355" y="10909"/>
                    <a:pt x="1057" y="10785"/>
                  </a:cubicBezTo>
                  <a:cubicBezTo>
                    <a:pt x="1008" y="10770"/>
                    <a:pt x="958" y="10762"/>
                    <a:pt x="909" y="10762"/>
                  </a:cubicBezTo>
                  <a:cubicBezTo>
                    <a:pt x="820" y="10762"/>
                    <a:pt x="734" y="10787"/>
                    <a:pt x="662" y="10837"/>
                  </a:cubicBezTo>
                  <a:cubicBezTo>
                    <a:pt x="284" y="11052"/>
                    <a:pt x="0" y="11602"/>
                    <a:pt x="0" y="12091"/>
                  </a:cubicBezTo>
                  <a:cubicBezTo>
                    <a:pt x="0" y="12426"/>
                    <a:pt x="121" y="12615"/>
                    <a:pt x="318" y="12675"/>
                  </a:cubicBezTo>
                  <a:cubicBezTo>
                    <a:pt x="624" y="12786"/>
                    <a:pt x="944" y="12842"/>
                    <a:pt x="1277" y="12842"/>
                  </a:cubicBezTo>
                  <a:cubicBezTo>
                    <a:pt x="1748" y="12842"/>
                    <a:pt x="2247" y="12730"/>
                    <a:pt x="2775" y="12504"/>
                  </a:cubicBezTo>
                  <a:lnTo>
                    <a:pt x="2775" y="13492"/>
                  </a:lnTo>
                  <a:cubicBezTo>
                    <a:pt x="2775" y="13770"/>
                    <a:pt x="2906" y="13936"/>
                    <a:pt x="3088" y="13936"/>
                  </a:cubicBezTo>
                  <a:cubicBezTo>
                    <a:pt x="3153" y="13936"/>
                    <a:pt x="3225" y="13915"/>
                    <a:pt x="3299" y="13870"/>
                  </a:cubicBezTo>
                  <a:cubicBezTo>
                    <a:pt x="3592" y="13706"/>
                    <a:pt x="3815" y="13277"/>
                    <a:pt x="3815" y="12890"/>
                  </a:cubicBezTo>
                  <a:lnTo>
                    <a:pt x="3815" y="11937"/>
                  </a:lnTo>
                  <a:cubicBezTo>
                    <a:pt x="5336" y="10863"/>
                    <a:pt x="6358" y="9110"/>
                    <a:pt x="6358" y="7349"/>
                  </a:cubicBezTo>
                  <a:cubicBezTo>
                    <a:pt x="6358" y="6026"/>
                    <a:pt x="5890" y="5415"/>
                    <a:pt x="4825" y="5415"/>
                  </a:cubicBezTo>
                  <a:cubicBezTo>
                    <a:pt x="4521" y="5415"/>
                    <a:pt x="4168" y="5464"/>
                    <a:pt x="3763" y="5562"/>
                  </a:cubicBezTo>
                  <a:lnTo>
                    <a:pt x="3763" y="2503"/>
                  </a:lnTo>
                  <a:cubicBezTo>
                    <a:pt x="3970" y="2451"/>
                    <a:pt x="4183" y="2425"/>
                    <a:pt x="4396" y="2425"/>
                  </a:cubicBezTo>
                  <a:cubicBezTo>
                    <a:pt x="4599" y="2425"/>
                    <a:pt x="4803" y="2448"/>
                    <a:pt x="5001" y="2495"/>
                  </a:cubicBezTo>
                  <a:cubicBezTo>
                    <a:pt x="5032" y="2501"/>
                    <a:pt x="5064" y="2505"/>
                    <a:pt x="5096" y="2505"/>
                  </a:cubicBezTo>
                  <a:cubicBezTo>
                    <a:pt x="5187" y="2505"/>
                    <a:pt x="5279" y="2479"/>
                    <a:pt x="5361" y="2435"/>
                  </a:cubicBezTo>
                  <a:cubicBezTo>
                    <a:pt x="5731" y="2220"/>
                    <a:pt x="6032" y="1661"/>
                    <a:pt x="6032" y="1163"/>
                  </a:cubicBezTo>
                  <a:cubicBezTo>
                    <a:pt x="6032" y="785"/>
                    <a:pt x="5860" y="639"/>
                    <a:pt x="5671" y="605"/>
                  </a:cubicBezTo>
                  <a:cubicBezTo>
                    <a:pt x="5471" y="555"/>
                    <a:pt x="5264" y="527"/>
                    <a:pt x="5048" y="527"/>
                  </a:cubicBezTo>
                  <a:cubicBezTo>
                    <a:pt x="4670" y="527"/>
                    <a:pt x="4263" y="611"/>
                    <a:pt x="3815" y="802"/>
                  </a:cubicBezTo>
                  <a:lnTo>
                    <a:pt x="3815" y="450"/>
                  </a:lnTo>
                  <a:cubicBezTo>
                    <a:pt x="3815" y="164"/>
                    <a:pt x="3693" y="0"/>
                    <a:pt x="351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78" name="Google Shape;5178;p36"/>
          <p:cNvGrpSpPr/>
          <p:nvPr/>
        </p:nvGrpSpPr>
        <p:grpSpPr>
          <a:xfrm>
            <a:off x="2713897" y="5657803"/>
            <a:ext cx="409291" cy="698108"/>
            <a:chOff x="1961300" y="3340250"/>
            <a:chExt cx="217600" cy="371150"/>
          </a:xfrm>
        </p:grpSpPr>
        <p:sp>
          <p:nvSpPr>
            <p:cNvPr id="5179" name="Google Shape;5179;p36"/>
            <p:cNvSpPr/>
            <p:nvPr/>
          </p:nvSpPr>
          <p:spPr>
            <a:xfrm>
              <a:off x="1984700" y="3510325"/>
              <a:ext cx="194200" cy="201075"/>
            </a:xfrm>
            <a:custGeom>
              <a:avLst/>
              <a:gdLst/>
              <a:ahLst/>
              <a:cxnLst/>
              <a:rect l="l" t="t" r="r" b="b"/>
              <a:pathLst>
                <a:path w="7768" h="8043" extrusionOk="0">
                  <a:moveTo>
                    <a:pt x="6765" y="0"/>
                  </a:moveTo>
                  <a:cubicBezTo>
                    <a:pt x="6474" y="0"/>
                    <a:pt x="1934" y="552"/>
                    <a:pt x="1934" y="552"/>
                  </a:cubicBezTo>
                  <a:cubicBezTo>
                    <a:pt x="1204" y="1041"/>
                    <a:pt x="611" y="1712"/>
                    <a:pt x="207" y="2493"/>
                  </a:cubicBezTo>
                  <a:cubicBezTo>
                    <a:pt x="70" y="2751"/>
                    <a:pt x="1" y="3043"/>
                    <a:pt x="9" y="3335"/>
                  </a:cubicBezTo>
                  <a:lnTo>
                    <a:pt x="9" y="6686"/>
                  </a:lnTo>
                  <a:lnTo>
                    <a:pt x="1178" y="7365"/>
                  </a:lnTo>
                  <a:cubicBezTo>
                    <a:pt x="1957" y="7813"/>
                    <a:pt x="2831" y="8042"/>
                    <a:pt x="3710" y="8042"/>
                  </a:cubicBezTo>
                  <a:cubicBezTo>
                    <a:pt x="4178" y="8042"/>
                    <a:pt x="4647" y="7977"/>
                    <a:pt x="5104" y="7846"/>
                  </a:cubicBezTo>
                  <a:cubicBezTo>
                    <a:pt x="6238" y="7511"/>
                    <a:pt x="7200" y="6746"/>
                    <a:pt x="7768" y="5715"/>
                  </a:cubicBezTo>
                  <a:lnTo>
                    <a:pt x="7768" y="2364"/>
                  </a:lnTo>
                  <a:cubicBezTo>
                    <a:pt x="7742" y="1480"/>
                    <a:pt x="7389" y="638"/>
                    <a:pt x="6779" y="2"/>
                  </a:cubicBezTo>
                  <a:cubicBezTo>
                    <a:pt x="6779" y="1"/>
                    <a:pt x="6774" y="0"/>
                    <a:pt x="67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0" name="Google Shape;5180;p36"/>
            <p:cNvSpPr/>
            <p:nvPr/>
          </p:nvSpPr>
          <p:spPr>
            <a:xfrm>
              <a:off x="2152875" y="3412425"/>
              <a:ext cx="12925" cy="115150"/>
            </a:xfrm>
            <a:custGeom>
              <a:avLst/>
              <a:gdLst/>
              <a:ahLst/>
              <a:cxnLst/>
              <a:rect l="l" t="t" r="r" b="b"/>
              <a:pathLst>
                <a:path w="517" h="4606" extrusionOk="0">
                  <a:moveTo>
                    <a:pt x="516" y="0"/>
                  </a:moveTo>
                  <a:lnTo>
                    <a:pt x="1" y="103"/>
                  </a:lnTo>
                  <a:lnTo>
                    <a:pt x="1" y="4012"/>
                  </a:lnTo>
                  <a:cubicBezTo>
                    <a:pt x="1" y="4253"/>
                    <a:pt x="199" y="4485"/>
                    <a:pt x="516" y="4605"/>
                  </a:cubicBezTo>
                  <a:lnTo>
                    <a:pt x="51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1" name="Google Shape;5181;p36"/>
            <p:cNvSpPr/>
            <p:nvPr/>
          </p:nvSpPr>
          <p:spPr>
            <a:xfrm>
              <a:off x="2033025" y="3531825"/>
              <a:ext cx="100775" cy="123100"/>
            </a:xfrm>
            <a:custGeom>
              <a:avLst/>
              <a:gdLst/>
              <a:ahLst/>
              <a:cxnLst/>
              <a:rect l="l" t="t" r="r" b="b"/>
              <a:pathLst>
                <a:path w="4031" h="4924" extrusionOk="0">
                  <a:moveTo>
                    <a:pt x="1" y="1"/>
                  </a:moveTo>
                  <a:lnTo>
                    <a:pt x="1" y="1"/>
                  </a:lnTo>
                  <a:cubicBezTo>
                    <a:pt x="1633" y="998"/>
                    <a:pt x="2922" y="2467"/>
                    <a:pt x="3704" y="4211"/>
                  </a:cubicBezTo>
                  <a:lnTo>
                    <a:pt x="4030" y="4924"/>
                  </a:lnTo>
                  <a:lnTo>
                    <a:pt x="3833" y="2853"/>
                  </a:lnTo>
                  <a:cubicBezTo>
                    <a:pt x="3755" y="1977"/>
                    <a:pt x="3764" y="1092"/>
                    <a:pt x="3858" y="216"/>
                  </a:cubicBezTo>
                  <a:lnTo>
                    <a:pt x="3858" y="216"/>
                  </a:lnTo>
                  <a:cubicBezTo>
                    <a:pt x="3773" y="285"/>
                    <a:pt x="3687" y="345"/>
                    <a:pt x="3592" y="396"/>
                  </a:cubicBezTo>
                  <a:cubicBezTo>
                    <a:pt x="3344" y="537"/>
                    <a:pt x="3068" y="608"/>
                    <a:pt x="2792" y="608"/>
                  </a:cubicBezTo>
                  <a:cubicBezTo>
                    <a:pt x="2561" y="608"/>
                    <a:pt x="2330" y="558"/>
                    <a:pt x="2114" y="456"/>
                  </a:cubicBezTo>
                  <a:cubicBezTo>
                    <a:pt x="1487" y="388"/>
                    <a:pt x="877" y="259"/>
                    <a:pt x="276" y="78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2" name="Google Shape;5182;p36"/>
            <p:cNvSpPr/>
            <p:nvPr/>
          </p:nvSpPr>
          <p:spPr>
            <a:xfrm>
              <a:off x="1961300" y="3352050"/>
              <a:ext cx="94100" cy="80650"/>
            </a:xfrm>
            <a:custGeom>
              <a:avLst/>
              <a:gdLst/>
              <a:ahLst/>
              <a:cxnLst/>
              <a:rect l="l" t="t" r="r" b="b"/>
              <a:pathLst>
                <a:path w="3764" h="3226" extrusionOk="0">
                  <a:moveTo>
                    <a:pt x="2157" y="1"/>
                  </a:moveTo>
                  <a:cubicBezTo>
                    <a:pt x="714" y="1"/>
                    <a:pt x="0" y="1736"/>
                    <a:pt x="1014" y="2750"/>
                  </a:cubicBezTo>
                  <a:cubicBezTo>
                    <a:pt x="1343" y="3079"/>
                    <a:pt x="1747" y="3226"/>
                    <a:pt x="2144" y="3226"/>
                  </a:cubicBezTo>
                  <a:cubicBezTo>
                    <a:pt x="2971" y="3226"/>
                    <a:pt x="3763" y="2586"/>
                    <a:pt x="3763" y="1616"/>
                  </a:cubicBezTo>
                  <a:cubicBezTo>
                    <a:pt x="3763" y="723"/>
                    <a:pt x="3042" y="1"/>
                    <a:pt x="2157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3" name="Google Shape;5183;p36"/>
            <p:cNvSpPr/>
            <p:nvPr/>
          </p:nvSpPr>
          <p:spPr>
            <a:xfrm>
              <a:off x="2102625" y="3562125"/>
              <a:ext cx="30950" cy="92600"/>
            </a:xfrm>
            <a:custGeom>
              <a:avLst/>
              <a:gdLst/>
              <a:ahLst/>
              <a:cxnLst/>
              <a:rect l="l" t="t" r="r" b="b"/>
              <a:pathLst>
                <a:path w="1238" h="3704" extrusionOk="0">
                  <a:moveTo>
                    <a:pt x="456" y="0"/>
                  </a:moveTo>
                  <a:lnTo>
                    <a:pt x="1" y="267"/>
                  </a:lnTo>
                  <a:lnTo>
                    <a:pt x="52" y="1461"/>
                  </a:lnTo>
                  <a:cubicBezTo>
                    <a:pt x="387" y="1942"/>
                    <a:pt x="679" y="2458"/>
                    <a:pt x="920" y="2999"/>
                  </a:cubicBezTo>
                  <a:lnTo>
                    <a:pt x="1229" y="3695"/>
                  </a:lnTo>
                  <a:lnTo>
                    <a:pt x="1238" y="3703"/>
                  </a:lnTo>
                  <a:lnTo>
                    <a:pt x="1238" y="3703"/>
                  </a:lnTo>
                  <a:lnTo>
                    <a:pt x="1049" y="1641"/>
                  </a:lnTo>
                  <a:cubicBezTo>
                    <a:pt x="1032" y="1444"/>
                    <a:pt x="1014" y="1246"/>
                    <a:pt x="1006" y="1040"/>
                  </a:cubicBezTo>
                  <a:lnTo>
                    <a:pt x="456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4" name="Google Shape;5184;p36"/>
            <p:cNvSpPr/>
            <p:nvPr/>
          </p:nvSpPr>
          <p:spPr>
            <a:xfrm>
              <a:off x="1989868" y="3580795"/>
              <a:ext cx="46839" cy="126460"/>
            </a:xfrm>
            <a:custGeom>
              <a:avLst/>
              <a:gdLst/>
              <a:ahLst/>
              <a:cxnLst/>
              <a:rect l="l" t="t" r="r" b="b"/>
              <a:pathLst>
                <a:path w="1873" h="4950" extrusionOk="0">
                  <a:moveTo>
                    <a:pt x="523" y="1"/>
                  </a:moveTo>
                  <a:cubicBezTo>
                    <a:pt x="215" y="1"/>
                    <a:pt x="0" y="285"/>
                    <a:pt x="0" y="765"/>
                  </a:cubicBezTo>
                  <a:lnTo>
                    <a:pt x="0" y="3979"/>
                  </a:lnTo>
                  <a:lnTo>
                    <a:pt x="1083" y="4606"/>
                  </a:lnTo>
                  <a:cubicBezTo>
                    <a:pt x="1332" y="4743"/>
                    <a:pt x="1598" y="4855"/>
                    <a:pt x="1864" y="4949"/>
                  </a:cubicBezTo>
                  <a:lnTo>
                    <a:pt x="1864" y="1848"/>
                  </a:lnTo>
                  <a:cubicBezTo>
                    <a:pt x="1873" y="1204"/>
                    <a:pt x="1478" y="465"/>
                    <a:pt x="997" y="181"/>
                  </a:cubicBezTo>
                  <a:lnTo>
                    <a:pt x="868" y="104"/>
                  </a:lnTo>
                  <a:cubicBezTo>
                    <a:pt x="745" y="34"/>
                    <a:pt x="629" y="1"/>
                    <a:pt x="52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5" name="Google Shape;5185;p36"/>
            <p:cNvSpPr/>
            <p:nvPr/>
          </p:nvSpPr>
          <p:spPr>
            <a:xfrm>
              <a:off x="2110350" y="3538275"/>
              <a:ext cx="17850" cy="18500"/>
            </a:xfrm>
            <a:custGeom>
              <a:avLst/>
              <a:gdLst/>
              <a:ahLst/>
              <a:cxnLst/>
              <a:rect l="l" t="t" r="r" b="b"/>
              <a:pathLst>
                <a:path w="714" h="740" extrusionOk="0">
                  <a:moveTo>
                    <a:pt x="714" y="1"/>
                  </a:moveTo>
                  <a:lnTo>
                    <a:pt x="714" y="1"/>
                  </a:lnTo>
                  <a:cubicBezTo>
                    <a:pt x="637" y="44"/>
                    <a:pt x="568" y="95"/>
                    <a:pt x="499" y="138"/>
                  </a:cubicBezTo>
                  <a:cubicBezTo>
                    <a:pt x="345" y="224"/>
                    <a:pt x="173" y="284"/>
                    <a:pt x="1" y="319"/>
                  </a:cubicBezTo>
                  <a:lnTo>
                    <a:pt x="568" y="740"/>
                  </a:lnTo>
                  <a:lnTo>
                    <a:pt x="71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6" name="Google Shape;5186;p36"/>
            <p:cNvSpPr/>
            <p:nvPr/>
          </p:nvSpPr>
          <p:spPr>
            <a:xfrm>
              <a:off x="2098125" y="3546450"/>
              <a:ext cx="20850" cy="22350"/>
            </a:xfrm>
            <a:custGeom>
              <a:avLst/>
              <a:gdLst/>
              <a:ahLst/>
              <a:cxnLst/>
              <a:rect l="l" t="t" r="r" b="b"/>
              <a:pathLst>
                <a:path w="834" h="894" extrusionOk="0">
                  <a:moveTo>
                    <a:pt x="490" y="0"/>
                  </a:moveTo>
                  <a:cubicBezTo>
                    <a:pt x="455" y="0"/>
                    <a:pt x="413" y="9"/>
                    <a:pt x="370" y="17"/>
                  </a:cubicBezTo>
                  <a:lnTo>
                    <a:pt x="0" y="748"/>
                  </a:lnTo>
                  <a:lnTo>
                    <a:pt x="181" y="894"/>
                  </a:lnTo>
                  <a:lnTo>
                    <a:pt x="636" y="627"/>
                  </a:lnTo>
                  <a:lnTo>
                    <a:pt x="834" y="249"/>
                  </a:lnTo>
                  <a:lnTo>
                    <a:pt x="49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7" name="Google Shape;5187;p36"/>
            <p:cNvSpPr/>
            <p:nvPr/>
          </p:nvSpPr>
          <p:spPr>
            <a:xfrm>
              <a:off x="2033025" y="3531825"/>
              <a:ext cx="74575" cy="38275"/>
            </a:xfrm>
            <a:custGeom>
              <a:avLst/>
              <a:gdLst/>
              <a:ahLst/>
              <a:cxnLst/>
              <a:rect l="l" t="t" r="r" b="b"/>
              <a:pathLst>
                <a:path w="2983" h="1531" extrusionOk="0">
                  <a:moveTo>
                    <a:pt x="1" y="1"/>
                  </a:moveTo>
                  <a:lnTo>
                    <a:pt x="2510" y="1530"/>
                  </a:lnTo>
                  <a:lnTo>
                    <a:pt x="2982" y="602"/>
                  </a:lnTo>
                  <a:lnTo>
                    <a:pt x="2982" y="602"/>
                  </a:lnTo>
                  <a:cubicBezTo>
                    <a:pt x="2921" y="609"/>
                    <a:pt x="2861" y="613"/>
                    <a:pt x="2800" y="613"/>
                  </a:cubicBezTo>
                  <a:cubicBezTo>
                    <a:pt x="2561" y="613"/>
                    <a:pt x="2327" y="559"/>
                    <a:pt x="2114" y="456"/>
                  </a:cubicBezTo>
                  <a:cubicBezTo>
                    <a:pt x="1487" y="388"/>
                    <a:pt x="877" y="259"/>
                    <a:pt x="276" y="78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8" name="Google Shape;5188;p36"/>
            <p:cNvSpPr/>
            <p:nvPr/>
          </p:nvSpPr>
          <p:spPr>
            <a:xfrm>
              <a:off x="2033025" y="3508000"/>
              <a:ext cx="52650" cy="35250"/>
            </a:xfrm>
            <a:custGeom>
              <a:avLst/>
              <a:gdLst/>
              <a:ahLst/>
              <a:cxnLst/>
              <a:rect l="l" t="t" r="r" b="b"/>
              <a:pathLst>
                <a:path w="2106" h="1410" extrusionOk="0">
                  <a:moveTo>
                    <a:pt x="1" y="0"/>
                  </a:moveTo>
                  <a:lnTo>
                    <a:pt x="1" y="954"/>
                  </a:lnTo>
                  <a:lnTo>
                    <a:pt x="267" y="1031"/>
                  </a:lnTo>
                  <a:cubicBezTo>
                    <a:pt x="869" y="1212"/>
                    <a:pt x="1487" y="1341"/>
                    <a:pt x="2106" y="1409"/>
                  </a:cubicBezTo>
                  <a:cubicBezTo>
                    <a:pt x="2037" y="1375"/>
                    <a:pt x="1968" y="1332"/>
                    <a:pt x="1900" y="1289"/>
                  </a:cubicBezTo>
                  <a:lnTo>
                    <a:pt x="860" y="696"/>
                  </a:lnTo>
                  <a:cubicBezTo>
                    <a:pt x="534" y="507"/>
                    <a:pt x="250" y="275"/>
                    <a:pt x="1" y="0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9" name="Google Shape;5189;p36"/>
            <p:cNvSpPr/>
            <p:nvPr/>
          </p:nvSpPr>
          <p:spPr>
            <a:xfrm>
              <a:off x="2031750" y="3412425"/>
              <a:ext cx="134700" cy="134725"/>
            </a:xfrm>
            <a:custGeom>
              <a:avLst/>
              <a:gdLst/>
              <a:ahLst/>
              <a:cxnLst/>
              <a:rect l="l" t="t" r="r" b="b"/>
              <a:pathLst>
                <a:path w="5388" h="5389" extrusionOk="0">
                  <a:moveTo>
                    <a:pt x="5387" y="0"/>
                  </a:moveTo>
                  <a:lnTo>
                    <a:pt x="4769" y="361"/>
                  </a:lnTo>
                  <a:cubicBezTo>
                    <a:pt x="4610" y="450"/>
                    <a:pt x="4436" y="494"/>
                    <a:pt x="4262" y="494"/>
                  </a:cubicBezTo>
                  <a:cubicBezTo>
                    <a:pt x="4051" y="494"/>
                    <a:pt x="3840" y="428"/>
                    <a:pt x="3660" y="301"/>
                  </a:cubicBezTo>
                  <a:cubicBezTo>
                    <a:pt x="3403" y="894"/>
                    <a:pt x="2964" y="1392"/>
                    <a:pt x="2406" y="1718"/>
                  </a:cubicBezTo>
                  <a:lnTo>
                    <a:pt x="2234" y="1813"/>
                  </a:lnTo>
                  <a:cubicBezTo>
                    <a:pt x="1787" y="2073"/>
                    <a:pt x="1290" y="2205"/>
                    <a:pt x="781" y="2205"/>
                  </a:cubicBezTo>
                  <a:cubicBezTo>
                    <a:pt x="685" y="2205"/>
                    <a:pt x="588" y="2201"/>
                    <a:pt x="490" y="2191"/>
                  </a:cubicBezTo>
                  <a:cubicBezTo>
                    <a:pt x="437" y="2159"/>
                    <a:pt x="381" y="2145"/>
                    <a:pt x="325" y="2145"/>
                  </a:cubicBezTo>
                  <a:cubicBezTo>
                    <a:pt x="156" y="2145"/>
                    <a:pt x="0" y="2280"/>
                    <a:pt x="0" y="2475"/>
                  </a:cubicBezTo>
                  <a:cubicBezTo>
                    <a:pt x="0" y="2767"/>
                    <a:pt x="155" y="3042"/>
                    <a:pt x="413" y="3188"/>
                  </a:cubicBezTo>
                  <a:lnTo>
                    <a:pt x="490" y="3239"/>
                  </a:lnTo>
                  <a:lnTo>
                    <a:pt x="52" y="3823"/>
                  </a:lnTo>
                  <a:cubicBezTo>
                    <a:pt x="301" y="4098"/>
                    <a:pt x="593" y="4330"/>
                    <a:pt x="911" y="4519"/>
                  </a:cubicBezTo>
                  <a:lnTo>
                    <a:pt x="1951" y="5112"/>
                  </a:lnTo>
                  <a:cubicBezTo>
                    <a:pt x="2221" y="5295"/>
                    <a:pt x="2535" y="5388"/>
                    <a:pt x="2849" y="5388"/>
                  </a:cubicBezTo>
                  <a:cubicBezTo>
                    <a:pt x="3124" y="5388"/>
                    <a:pt x="3398" y="5317"/>
                    <a:pt x="3643" y="5172"/>
                  </a:cubicBezTo>
                  <a:cubicBezTo>
                    <a:pt x="4726" y="4545"/>
                    <a:pt x="5387" y="3394"/>
                    <a:pt x="5387" y="2148"/>
                  </a:cubicBezTo>
                  <a:lnTo>
                    <a:pt x="5387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0" name="Google Shape;5190;p36"/>
            <p:cNvSpPr/>
            <p:nvPr/>
          </p:nvSpPr>
          <p:spPr>
            <a:xfrm>
              <a:off x="2093825" y="3453100"/>
              <a:ext cx="16125" cy="23225"/>
            </a:xfrm>
            <a:custGeom>
              <a:avLst/>
              <a:gdLst/>
              <a:ahLst/>
              <a:cxnLst/>
              <a:rect l="l" t="t" r="r" b="b"/>
              <a:pathLst>
                <a:path w="645" h="929" extrusionOk="0">
                  <a:moveTo>
                    <a:pt x="458" y="0"/>
                  </a:moveTo>
                  <a:cubicBezTo>
                    <a:pt x="418" y="0"/>
                    <a:pt x="374" y="13"/>
                    <a:pt x="327" y="40"/>
                  </a:cubicBezTo>
                  <a:cubicBezTo>
                    <a:pt x="129" y="177"/>
                    <a:pt x="9" y="401"/>
                    <a:pt x="0" y="650"/>
                  </a:cubicBezTo>
                  <a:cubicBezTo>
                    <a:pt x="0" y="823"/>
                    <a:pt x="82" y="929"/>
                    <a:pt x="198" y="929"/>
                  </a:cubicBezTo>
                  <a:cubicBezTo>
                    <a:pt x="237" y="929"/>
                    <a:pt x="281" y="917"/>
                    <a:pt x="327" y="890"/>
                  </a:cubicBezTo>
                  <a:cubicBezTo>
                    <a:pt x="524" y="744"/>
                    <a:pt x="645" y="521"/>
                    <a:pt x="645" y="280"/>
                  </a:cubicBezTo>
                  <a:cubicBezTo>
                    <a:pt x="645" y="103"/>
                    <a:pt x="570" y="0"/>
                    <a:pt x="458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1" name="Google Shape;5191;p36"/>
            <p:cNvSpPr/>
            <p:nvPr/>
          </p:nvSpPr>
          <p:spPr>
            <a:xfrm>
              <a:off x="2138925" y="3425850"/>
              <a:ext cx="16125" cy="23300"/>
            </a:xfrm>
            <a:custGeom>
              <a:avLst/>
              <a:gdLst/>
              <a:ahLst/>
              <a:cxnLst/>
              <a:rect l="l" t="t" r="r" b="b"/>
              <a:pathLst>
                <a:path w="645" h="932" extrusionOk="0">
                  <a:moveTo>
                    <a:pt x="444" y="0"/>
                  </a:moveTo>
                  <a:cubicBezTo>
                    <a:pt x="405" y="0"/>
                    <a:pt x="362" y="13"/>
                    <a:pt x="318" y="39"/>
                  </a:cubicBezTo>
                  <a:cubicBezTo>
                    <a:pt x="121" y="176"/>
                    <a:pt x="1" y="408"/>
                    <a:pt x="1" y="649"/>
                  </a:cubicBezTo>
                  <a:cubicBezTo>
                    <a:pt x="1" y="821"/>
                    <a:pt x="76" y="932"/>
                    <a:pt x="189" y="932"/>
                  </a:cubicBezTo>
                  <a:cubicBezTo>
                    <a:pt x="228" y="932"/>
                    <a:pt x="272" y="918"/>
                    <a:pt x="318" y="889"/>
                  </a:cubicBezTo>
                  <a:cubicBezTo>
                    <a:pt x="516" y="752"/>
                    <a:pt x="636" y="520"/>
                    <a:pt x="645" y="279"/>
                  </a:cubicBezTo>
                  <a:cubicBezTo>
                    <a:pt x="645" y="106"/>
                    <a:pt x="559" y="0"/>
                    <a:pt x="444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2" name="Google Shape;5192;p36"/>
            <p:cNvSpPr/>
            <p:nvPr/>
          </p:nvSpPr>
          <p:spPr>
            <a:xfrm>
              <a:off x="1976775" y="3340250"/>
              <a:ext cx="201050" cy="167775"/>
            </a:xfrm>
            <a:custGeom>
              <a:avLst/>
              <a:gdLst/>
              <a:ahLst/>
              <a:cxnLst/>
              <a:rect l="l" t="t" r="r" b="b"/>
              <a:pathLst>
                <a:path w="8042" h="6711" extrusionOk="0">
                  <a:moveTo>
                    <a:pt x="4710" y="1"/>
                  </a:moveTo>
                  <a:cubicBezTo>
                    <a:pt x="3468" y="1"/>
                    <a:pt x="2147" y="512"/>
                    <a:pt x="1400" y="1959"/>
                  </a:cubicBezTo>
                  <a:cubicBezTo>
                    <a:pt x="0" y="4666"/>
                    <a:pt x="2260" y="6710"/>
                    <a:pt x="2260" y="6710"/>
                  </a:cubicBezTo>
                  <a:lnTo>
                    <a:pt x="2698" y="6126"/>
                  </a:lnTo>
                  <a:lnTo>
                    <a:pt x="2620" y="6075"/>
                  </a:lnTo>
                  <a:cubicBezTo>
                    <a:pt x="2363" y="5929"/>
                    <a:pt x="2199" y="5654"/>
                    <a:pt x="2199" y="5362"/>
                  </a:cubicBezTo>
                  <a:cubicBezTo>
                    <a:pt x="2206" y="5167"/>
                    <a:pt x="2359" y="5032"/>
                    <a:pt x="2529" y="5032"/>
                  </a:cubicBezTo>
                  <a:cubicBezTo>
                    <a:pt x="2585" y="5032"/>
                    <a:pt x="2643" y="5046"/>
                    <a:pt x="2698" y="5078"/>
                  </a:cubicBezTo>
                  <a:cubicBezTo>
                    <a:pt x="2790" y="5087"/>
                    <a:pt x="2883" y="5092"/>
                    <a:pt x="2976" y="5092"/>
                  </a:cubicBezTo>
                  <a:cubicBezTo>
                    <a:pt x="3485" y="5092"/>
                    <a:pt x="3990" y="4954"/>
                    <a:pt x="4433" y="4700"/>
                  </a:cubicBezTo>
                  <a:lnTo>
                    <a:pt x="4605" y="4597"/>
                  </a:lnTo>
                  <a:cubicBezTo>
                    <a:pt x="5163" y="4279"/>
                    <a:pt x="5602" y="3781"/>
                    <a:pt x="5859" y="3188"/>
                  </a:cubicBezTo>
                  <a:cubicBezTo>
                    <a:pt x="6036" y="3313"/>
                    <a:pt x="6242" y="3376"/>
                    <a:pt x="6449" y="3376"/>
                  </a:cubicBezTo>
                  <a:cubicBezTo>
                    <a:pt x="6625" y="3376"/>
                    <a:pt x="6801" y="3330"/>
                    <a:pt x="6959" y="3239"/>
                  </a:cubicBezTo>
                  <a:lnTo>
                    <a:pt x="7586" y="2879"/>
                  </a:lnTo>
                  <a:lnTo>
                    <a:pt x="7664" y="2827"/>
                  </a:lnTo>
                  <a:cubicBezTo>
                    <a:pt x="7913" y="2672"/>
                    <a:pt x="8042" y="2372"/>
                    <a:pt x="7973" y="2088"/>
                  </a:cubicBezTo>
                  <a:cubicBezTo>
                    <a:pt x="7784" y="1220"/>
                    <a:pt x="7131" y="525"/>
                    <a:pt x="6280" y="275"/>
                  </a:cubicBezTo>
                  <a:lnTo>
                    <a:pt x="6143" y="232"/>
                  </a:lnTo>
                  <a:cubicBezTo>
                    <a:pt x="6100" y="215"/>
                    <a:pt x="6066" y="207"/>
                    <a:pt x="6023" y="189"/>
                  </a:cubicBezTo>
                  <a:cubicBezTo>
                    <a:pt x="5980" y="181"/>
                    <a:pt x="5919" y="164"/>
                    <a:pt x="5868" y="147"/>
                  </a:cubicBezTo>
                  <a:cubicBezTo>
                    <a:pt x="5505" y="54"/>
                    <a:pt x="5111" y="1"/>
                    <a:pt x="4710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3" name="Google Shape;5193;p36"/>
            <p:cNvSpPr/>
            <p:nvPr/>
          </p:nvSpPr>
          <p:spPr>
            <a:xfrm>
              <a:off x="2094025" y="3468050"/>
              <a:ext cx="58250" cy="61675"/>
            </a:xfrm>
            <a:custGeom>
              <a:avLst/>
              <a:gdLst/>
              <a:ahLst/>
              <a:cxnLst/>
              <a:rect l="l" t="t" r="r" b="b"/>
              <a:pathLst>
                <a:path w="2330" h="2467" extrusionOk="0">
                  <a:moveTo>
                    <a:pt x="2329" y="0"/>
                  </a:moveTo>
                  <a:lnTo>
                    <a:pt x="1" y="1341"/>
                  </a:lnTo>
                  <a:lnTo>
                    <a:pt x="1" y="1641"/>
                  </a:lnTo>
                  <a:cubicBezTo>
                    <a:pt x="1" y="2123"/>
                    <a:pt x="395" y="2467"/>
                    <a:pt x="830" y="2467"/>
                  </a:cubicBezTo>
                  <a:cubicBezTo>
                    <a:pt x="968" y="2467"/>
                    <a:pt x="1111" y="2431"/>
                    <a:pt x="1247" y="2354"/>
                  </a:cubicBezTo>
                  <a:cubicBezTo>
                    <a:pt x="1917" y="1968"/>
                    <a:pt x="2329" y="1246"/>
                    <a:pt x="2329" y="473"/>
                  </a:cubicBezTo>
                  <a:lnTo>
                    <a:pt x="2329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4" name="Google Shape;5194;p36"/>
            <p:cNvSpPr/>
            <p:nvPr/>
          </p:nvSpPr>
          <p:spPr>
            <a:xfrm>
              <a:off x="2052471" y="3461991"/>
              <a:ext cx="13750" cy="118800"/>
            </a:xfrm>
            <a:custGeom>
              <a:avLst/>
              <a:gdLst/>
              <a:ahLst/>
              <a:cxnLst/>
              <a:rect l="l" t="t" r="r" b="b"/>
              <a:pathLst>
                <a:path w="550" h="4752" extrusionOk="0">
                  <a:moveTo>
                    <a:pt x="550" y="1"/>
                  </a:moveTo>
                  <a:lnTo>
                    <a:pt x="0" y="104"/>
                  </a:lnTo>
                  <a:lnTo>
                    <a:pt x="0" y="4133"/>
                  </a:lnTo>
                  <a:cubicBezTo>
                    <a:pt x="0" y="4382"/>
                    <a:pt x="215" y="4623"/>
                    <a:pt x="550" y="4752"/>
                  </a:cubicBezTo>
                  <a:lnTo>
                    <a:pt x="550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195" name="Google Shape;5195;p36"/>
          <p:cNvGrpSpPr/>
          <p:nvPr/>
        </p:nvGrpSpPr>
        <p:grpSpPr>
          <a:xfrm>
            <a:off x="7492024" y="5610904"/>
            <a:ext cx="409305" cy="735173"/>
            <a:chOff x="1353450" y="3339600"/>
            <a:chExt cx="206650" cy="371175"/>
          </a:xfrm>
        </p:grpSpPr>
        <p:sp>
          <p:nvSpPr>
            <p:cNvPr id="5196" name="Google Shape;5196;p36"/>
            <p:cNvSpPr/>
            <p:nvPr/>
          </p:nvSpPr>
          <p:spPr>
            <a:xfrm>
              <a:off x="1362700" y="3513150"/>
              <a:ext cx="117425" cy="134475"/>
            </a:xfrm>
            <a:custGeom>
              <a:avLst/>
              <a:gdLst/>
              <a:ahLst/>
              <a:cxnLst/>
              <a:rect l="l" t="t" r="r" b="b"/>
              <a:pathLst>
                <a:path w="4697" h="5379" extrusionOk="0">
                  <a:moveTo>
                    <a:pt x="4073" y="0"/>
                  </a:moveTo>
                  <a:cubicBezTo>
                    <a:pt x="3953" y="0"/>
                    <a:pt x="3829" y="53"/>
                    <a:pt x="3729" y="181"/>
                  </a:cubicBezTo>
                  <a:lnTo>
                    <a:pt x="232" y="4657"/>
                  </a:lnTo>
                  <a:cubicBezTo>
                    <a:pt x="0" y="4949"/>
                    <a:pt x="215" y="5379"/>
                    <a:pt x="584" y="5379"/>
                  </a:cubicBezTo>
                  <a:cubicBezTo>
                    <a:pt x="722" y="5379"/>
                    <a:pt x="851" y="5319"/>
                    <a:pt x="937" y="5207"/>
                  </a:cubicBezTo>
                  <a:lnTo>
                    <a:pt x="4433" y="731"/>
                  </a:lnTo>
                  <a:cubicBezTo>
                    <a:pt x="4697" y="386"/>
                    <a:pt x="4397" y="0"/>
                    <a:pt x="407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7" name="Google Shape;5197;p36"/>
            <p:cNvSpPr/>
            <p:nvPr/>
          </p:nvSpPr>
          <p:spPr>
            <a:xfrm>
              <a:off x="1474325" y="3513225"/>
              <a:ext cx="75475" cy="122375"/>
            </a:xfrm>
            <a:custGeom>
              <a:avLst/>
              <a:gdLst/>
              <a:ahLst/>
              <a:cxnLst/>
              <a:rect l="l" t="t" r="r" b="b"/>
              <a:pathLst>
                <a:path w="3019" h="4895" extrusionOk="0">
                  <a:moveTo>
                    <a:pt x="588" y="0"/>
                  </a:moveTo>
                  <a:cubicBezTo>
                    <a:pt x="296" y="0"/>
                    <a:pt x="1" y="289"/>
                    <a:pt x="166" y="642"/>
                  </a:cubicBezTo>
                  <a:lnTo>
                    <a:pt x="2082" y="4645"/>
                  </a:lnTo>
                  <a:cubicBezTo>
                    <a:pt x="2151" y="4800"/>
                    <a:pt x="2305" y="4895"/>
                    <a:pt x="2477" y="4895"/>
                  </a:cubicBezTo>
                  <a:cubicBezTo>
                    <a:pt x="2804" y="4895"/>
                    <a:pt x="3018" y="4551"/>
                    <a:pt x="2881" y="4259"/>
                  </a:cubicBezTo>
                  <a:lnTo>
                    <a:pt x="974" y="255"/>
                  </a:lnTo>
                  <a:cubicBezTo>
                    <a:pt x="887" y="75"/>
                    <a:pt x="738" y="0"/>
                    <a:pt x="58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8" name="Google Shape;5198;p36"/>
            <p:cNvSpPr/>
            <p:nvPr/>
          </p:nvSpPr>
          <p:spPr>
            <a:xfrm>
              <a:off x="1397050" y="3542675"/>
              <a:ext cx="56875" cy="168100"/>
            </a:xfrm>
            <a:custGeom>
              <a:avLst/>
              <a:gdLst/>
              <a:ahLst/>
              <a:cxnLst/>
              <a:rect l="l" t="t" r="r" b="b"/>
              <a:pathLst>
                <a:path w="2275" h="6724" extrusionOk="0">
                  <a:moveTo>
                    <a:pt x="1757" y="0"/>
                  </a:moveTo>
                  <a:cubicBezTo>
                    <a:pt x="1571" y="0"/>
                    <a:pt x="1387" y="107"/>
                    <a:pt x="1332" y="349"/>
                  </a:cubicBezTo>
                  <a:lnTo>
                    <a:pt x="52" y="6182"/>
                  </a:lnTo>
                  <a:cubicBezTo>
                    <a:pt x="1" y="6414"/>
                    <a:pt x="147" y="6655"/>
                    <a:pt x="387" y="6706"/>
                  </a:cubicBezTo>
                  <a:cubicBezTo>
                    <a:pt x="422" y="6715"/>
                    <a:pt x="456" y="6715"/>
                    <a:pt x="482" y="6724"/>
                  </a:cubicBezTo>
                  <a:cubicBezTo>
                    <a:pt x="697" y="6715"/>
                    <a:pt x="877" y="6569"/>
                    <a:pt x="920" y="6371"/>
                  </a:cubicBezTo>
                  <a:lnTo>
                    <a:pt x="2200" y="538"/>
                  </a:lnTo>
                  <a:cubicBezTo>
                    <a:pt x="2275" y="204"/>
                    <a:pt x="2014" y="0"/>
                    <a:pt x="175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9" name="Google Shape;5199;p36"/>
            <p:cNvSpPr/>
            <p:nvPr/>
          </p:nvSpPr>
          <p:spPr>
            <a:xfrm>
              <a:off x="1353450" y="3339600"/>
              <a:ext cx="206650" cy="281925"/>
            </a:xfrm>
            <a:custGeom>
              <a:avLst/>
              <a:gdLst/>
              <a:ahLst/>
              <a:cxnLst/>
              <a:rect l="l" t="t" r="r" b="b"/>
              <a:pathLst>
                <a:path w="8266" h="11277" extrusionOk="0">
                  <a:moveTo>
                    <a:pt x="6994" y="1"/>
                  </a:moveTo>
                  <a:cubicBezTo>
                    <a:pt x="6934" y="1"/>
                    <a:pt x="6882" y="18"/>
                    <a:pt x="6831" y="44"/>
                  </a:cubicBezTo>
                  <a:lnTo>
                    <a:pt x="482" y="3712"/>
                  </a:lnTo>
                  <a:cubicBezTo>
                    <a:pt x="190" y="3884"/>
                    <a:pt x="1" y="4193"/>
                    <a:pt x="1" y="4537"/>
                  </a:cubicBezTo>
                  <a:lnTo>
                    <a:pt x="1" y="10413"/>
                  </a:lnTo>
                  <a:cubicBezTo>
                    <a:pt x="1" y="10534"/>
                    <a:pt x="78" y="10645"/>
                    <a:pt x="181" y="10697"/>
                  </a:cubicBezTo>
                  <a:lnTo>
                    <a:pt x="1118" y="11238"/>
                  </a:lnTo>
                  <a:cubicBezTo>
                    <a:pt x="1169" y="11264"/>
                    <a:pt x="1223" y="11277"/>
                    <a:pt x="1277" y="11277"/>
                  </a:cubicBezTo>
                  <a:cubicBezTo>
                    <a:pt x="1330" y="11277"/>
                    <a:pt x="1384" y="11264"/>
                    <a:pt x="1436" y="11238"/>
                  </a:cubicBezTo>
                  <a:lnTo>
                    <a:pt x="7793" y="7561"/>
                  </a:lnTo>
                  <a:cubicBezTo>
                    <a:pt x="8085" y="7398"/>
                    <a:pt x="8266" y="7080"/>
                    <a:pt x="8266" y="6736"/>
                  </a:cubicBezTo>
                  <a:lnTo>
                    <a:pt x="8266" y="860"/>
                  </a:lnTo>
                  <a:cubicBezTo>
                    <a:pt x="8266" y="740"/>
                    <a:pt x="8188" y="628"/>
                    <a:pt x="8077" y="576"/>
                  </a:cubicBezTo>
                  <a:lnTo>
                    <a:pt x="7157" y="35"/>
                  </a:lnTo>
                  <a:cubicBezTo>
                    <a:pt x="7106" y="9"/>
                    <a:pt x="7046" y="1"/>
                    <a:pt x="699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0" name="Google Shape;5200;p36"/>
            <p:cNvSpPr/>
            <p:nvPr/>
          </p:nvSpPr>
          <p:spPr>
            <a:xfrm>
              <a:off x="1377300" y="3353350"/>
              <a:ext cx="182800" cy="268150"/>
            </a:xfrm>
            <a:custGeom>
              <a:avLst/>
              <a:gdLst/>
              <a:ahLst/>
              <a:cxnLst/>
              <a:rect l="l" t="t" r="r" b="b"/>
              <a:pathLst>
                <a:path w="7312" h="10726" extrusionOk="0">
                  <a:moveTo>
                    <a:pt x="6995" y="1"/>
                  </a:moveTo>
                  <a:cubicBezTo>
                    <a:pt x="6943" y="1"/>
                    <a:pt x="6889" y="14"/>
                    <a:pt x="6839" y="44"/>
                  </a:cubicBezTo>
                  <a:lnTo>
                    <a:pt x="482" y="3712"/>
                  </a:lnTo>
                  <a:cubicBezTo>
                    <a:pt x="181" y="3884"/>
                    <a:pt x="0" y="4193"/>
                    <a:pt x="0" y="4537"/>
                  </a:cubicBezTo>
                  <a:lnTo>
                    <a:pt x="0" y="10405"/>
                  </a:lnTo>
                  <a:cubicBezTo>
                    <a:pt x="0" y="10591"/>
                    <a:pt x="159" y="10725"/>
                    <a:pt x="331" y="10725"/>
                  </a:cubicBezTo>
                  <a:cubicBezTo>
                    <a:pt x="381" y="10725"/>
                    <a:pt x="433" y="10714"/>
                    <a:pt x="482" y="10688"/>
                  </a:cubicBezTo>
                  <a:lnTo>
                    <a:pt x="6839" y="7011"/>
                  </a:lnTo>
                  <a:cubicBezTo>
                    <a:pt x="7131" y="6848"/>
                    <a:pt x="7312" y="6530"/>
                    <a:pt x="7312" y="6186"/>
                  </a:cubicBezTo>
                  <a:lnTo>
                    <a:pt x="7312" y="318"/>
                  </a:lnTo>
                  <a:cubicBezTo>
                    <a:pt x="7305" y="130"/>
                    <a:pt x="7156" y="1"/>
                    <a:pt x="6995" y="1"/>
                  </a:cubicBezTo>
                  <a:close/>
                </a:path>
              </a:pathLst>
            </a:custGeom>
            <a:solidFill>
              <a:srgbClr val="E3E3E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1" name="Google Shape;5201;p36"/>
            <p:cNvSpPr/>
            <p:nvPr/>
          </p:nvSpPr>
          <p:spPr>
            <a:xfrm>
              <a:off x="1408225" y="3488325"/>
              <a:ext cx="131900" cy="81025"/>
            </a:xfrm>
            <a:custGeom>
              <a:avLst/>
              <a:gdLst/>
              <a:ahLst/>
              <a:cxnLst/>
              <a:rect l="l" t="t" r="r" b="b"/>
              <a:pathLst>
                <a:path w="5276" h="3241" extrusionOk="0">
                  <a:moveTo>
                    <a:pt x="5215" y="1"/>
                  </a:moveTo>
                  <a:cubicBezTo>
                    <a:pt x="5203" y="1"/>
                    <a:pt x="5188" y="5"/>
                    <a:pt x="5173" y="14"/>
                  </a:cubicBezTo>
                  <a:lnTo>
                    <a:pt x="112" y="2927"/>
                  </a:lnTo>
                  <a:cubicBezTo>
                    <a:pt x="44" y="2978"/>
                    <a:pt x="1" y="3055"/>
                    <a:pt x="1" y="3141"/>
                  </a:cubicBezTo>
                  <a:cubicBezTo>
                    <a:pt x="1" y="3205"/>
                    <a:pt x="29" y="3240"/>
                    <a:pt x="68" y="3240"/>
                  </a:cubicBezTo>
                  <a:cubicBezTo>
                    <a:pt x="82" y="3240"/>
                    <a:pt x="97" y="3236"/>
                    <a:pt x="112" y="3227"/>
                  </a:cubicBezTo>
                  <a:lnTo>
                    <a:pt x="5173" y="306"/>
                  </a:lnTo>
                  <a:cubicBezTo>
                    <a:pt x="5233" y="255"/>
                    <a:pt x="5276" y="177"/>
                    <a:pt x="5276" y="100"/>
                  </a:cubicBezTo>
                  <a:cubicBezTo>
                    <a:pt x="5276" y="36"/>
                    <a:pt x="5252" y="1"/>
                    <a:pt x="5215" y="1"/>
                  </a:cubicBezTo>
                  <a:close/>
                </a:path>
              </a:pathLst>
            </a:custGeom>
            <a:solidFill>
              <a:srgbClr val="65656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2" name="Google Shape;5202;p36"/>
            <p:cNvSpPr/>
            <p:nvPr/>
          </p:nvSpPr>
          <p:spPr>
            <a:xfrm>
              <a:off x="1418750" y="3496850"/>
              <a:ext cx="28375" cy="60350"/>
            </a:xfrm>
            <a:custGeom>
              <a:avLst/>
              <a:gdLst/>
              <a:ahLst/>
              <a:cxnLst/>
              <a:rect l="l" t="t" r="r" b="b"/>
              <a:pathLst>
                <a:path w="1135" h="2414" extrusionOk="0">
                  <a:moveTo>
                    <a:pt x="936" y="0"/>
                  </a:moveTo>
                  <a:cubicBezTo>
                    <a:pt x="899" y="0"/>
                    <a:pt x="858" y="11"/>
                    <a:pt x="817" y="34"/>
                  </a:cubicBezTo>
                  <a:lnTo>
                    <a:pt x="318" y="326"/>
                  </a:lnTo>
                  <a:cubicBezTo>
                    <a:pt x="121" y="464"/>
                    <a:pt x="9" y="687"/>
                    <a:pt x="1" y="927"/>
                  </a:cubicBezTo>
                  <a:lnTo>
                    <a:pt x="1" y="2414"/>
                  </a:lnTo>
                  <a:lnTo>
                    <a:pt x="1135" y="1761"/>
                  </a:lnTo>
                  <a:lnTo>
                    <a:pt x="1135" y="275"/>
                  </a:lnTo>
                  <a:cubicBezTo>
                    <a:pt x="1135" y="105"/>
                    <a:pt x="1051" y="0"/>
                    <a:pt x="936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3" name="Google Shape;5203;p36"/>
            <p:cNvSpPr/>
            <p:nvPr/>
          </p:nvSpPr>
          <p:spPr>
            <a:xfrm>
              <a:off x="1460000" y="3455675"/>
              <a:ext cx="28375" cy="77700"/>
            </a:xfrm>
            <a:custGeom>
              <a:avLst/>
              <a:gdLst/>
              <a:ahLst/>
              <a:cxnLst/>
              <a:rect l="l" t="t" r="r" b="b"/>
              <a:pathLst>
                <a:path w="1135" h="3108" extrusionOk="0">
                  <a:moveTo>
                    <a:pt x="944" y="0"/>
                  </a:moveTo>
                  <a:cubicBezTo>
                    <a:pt x="905" y="0"/>
                    <a:pt x="861" y="13"/>
                    <a:pt x="816" y="40"/>
                  </a:cubicBezTo>
                  <a:lnTo>
                    <a:pt x="318" y="324"/>
                  </a:lnTo>
                  <a:cubicBezTo>
                    <a:pt x="120" y="461"/>
                    <a:pt x="9" y="684"/>
                    <a:pt x="0" y="925"/>
                  </a:cubicBezTo>
                  <a:lnTo>
                    <a:pt x="0" y="3107"/>
                  </a:lnTo>
                  <a:lnTo>
                    <a:pt x="1134" y="2454"/>
                  </a:lnTo>
                  <a:lnTo>
                    <a:pt x="1134" y="272"/>
                  </a:lnTo>
                  <a:cubicBezTo>
                    <a:pt x="1134" y="101"/>
                    <a:pt x="1055" y="0"/>
                    <a:pt x="94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4" name="Google Shape;5204;p36"/>
            <p:cNvSpPr/>
            <p:nvPr/>
          </p:nvSpPr>
          <p:spPr>
            <a:xfrm>
              <a:off x="1501450" y="3414250"/>
              <a:ext cx="28150" cy="95275"/>
            </a:xfrm>
            <a:custGeom>
              <a:avLst/>
              <a:gdLst/>
              <a:ahLst/>
              <a:cxnLst/>
              <a:rect l="l" t="t" r="r" b="b"/>
              <a:pathLst>
                <a:path w="1126" h="3811" extrusionOk="0">
                  <a:moveTo>
                    <a:pt x="936" y="0"/>
                  </a:moveTo>
                  <a:cubicBezTo>
                    <a:pt x="897" y="0"/>
                    <a:pt x="854" y="13"/>
                    <a:pt x="808" y="39"/>
                  </a:cubicBezTo>
                  <a:lnTo>
                    <a:pt x="310" y="322"/>
                  </a:lnTo>
                  <a:cubicBezTo>
                    <a:pt x="121" y="468"/>
                    <a:pt x="0" y="692"/>
                    <a:pt x="0" y="924"/>
                  </a:cubicBezTo>
                  <a:lnTo>
                    <a:pt x="0" y="3810"/>
                  </a:lnTo>
                  <a:lnTo>
                    <a:pt x="1126" y="3158"/>
                  </a:lnTo>
                  <a:lnTo>
                    <a:pt x="1126" y="279"/>
                  </a:lnTo>
                  <a:cubicBezTo>
                    <a:pt x="1126" y="106"/>
                    <a:pt x="1049" y="0"/>
                    <a:pt x="936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5" name="Google Shape;5205;p36"/>
            <p:cNvSpPr/>
            <p:nvPr/>
          </p:nvSpPr>
          <p:spPr>
            <a:xfrm>
              <a:off x="1424600" y="3377925"/>
              <a:ext cx="75150" cy="66500"/>
            </a:xfrm>
            <a:custGeom>
              <a:avLst/>
              <a:gdLst/>
              <a:ahLst/>
              <a:cxnLst/>
              <a:rect l="l" t="t" r="r" b="b"/>
              <a:pathLst>
                <a:path w="3006" h="2660" extrusionOk="0">
                  <a:moveTo>
                    <a:pt x="2861" y="1"/>
                  </a:moveTo>
                  <a:cubicBezTo>
                    <a:pt x="2835" y="1"/>
                    <a:pt x="2808" y="8"/>
                    <a:pt x="2782" y="23"/>
                  </a:cubicBezTo>
                  <a:lnTo>
                    <a:pt x="256" y="1475"/>
                  </a:lnTo>
                  <a:cubicBezTo>
                    <a:pt x="102" y="1561"/>
                    <a:pt x="7" y="1724"/>
                    <a:pt x="7" y="1904"/>
                  </a:cubicBezTo>
                  <a:lnTo>
                    <a:pt x="7" y="2506"/>
                  </a:lnTo>
                  <a:cubicBezTo>
                    <a:pt x="0" y="2593"/>
                    <a:pt x="78" y="2659"/>
                    <a:pt x="161" y="2659"/>
                  </a:cubicBezTo>
                  <a:cubicBezTo>
                    <a:pt x="184" y="2659"/>
                    <a:pt x="208" y="2654"/>
                    <a:pt x="230" y="2643"/>
                  </a:cubicBezTo>
                  <a:lnTo>
                    <a:pt x="2756" y="1183"/>
                  </a:lnTo>
                  <a:cubicBezTo>
                    <a:pt x="2911" y="1088"/>
                    <a:pt x="3005" y="925"/>
                    <a:pt x="3005" y="753"/>
                  </a:cubicBezTo>
                  <a:lnTo>
                    <a:pt x="3005" y="152"/>
                  </a:lnTo>
                  <a:cubicBezTo>
                    <a:pt x="3005" y="62"/>
                    <a:pt x="2938" y="1"/>
                    <a:pt x="2861" y="1"/>
                  </a:cubicBezTo>
                  <a:close/>
                </a:path>
              </a:pathLst>
            </a:custGeom>
            <a:solidFill>
              <a:srgbClr val="B8B8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6" name="Google Shape;5206;p36"/>
            <p:cNvSpPr/>
            <p:nvPr/>
          </p:nvSpPr>
          <p:spPr>
            <a:xfrm>
              <a:off x="1400500" y="3364075"/>
              <a:ext cx="97100" cy="61475"/>
            </a:xfrm>
            <a:custGeom>
              <a:avLst/>
              <a:gdLst/>
              <a:ahLst/>
              <a:cxnLst/>
              <a:rect l="l" t="t" r="r" b="b"/>
              <a:pathLst>
                <a:path w="3884" h="2459" extrusionOk="0">
                  <a:moveTo>
                    <a:pt x="2870" y="1"/>
                  </a:moveTo>
                  <a:cubicBezTo>
                    <a:pt x="2842" y="1"/>
                    <a:pt x="2815" y="7"/>
                    <a:pt x="2792" y="18"/>
                  </a:cubicBezTo>
                  <a:lnTo>
                    <a:pt x="267" y="1479"/>
                  </a:lnTo>
                  <a:cubicBezTo>
                    <a:pt x="103" y="1556"/>
                    <a:pt x="0" y="1728"/>
                    <a:pt x="9" y="1908"/>
                  </a:cubicBezTo>
                  <a:lnTo>
                    <a:pt x="971" y="2458"/>
                  </a:lnTo>
                  <a:cubicBezTo>
                    <a:pt x="971" y="2278"/>
                    <a:pt x="1066" y="2115"/>
                    <a:pt x="1220" y="2029"/>
                  </a:cubicBezTo>
                  <a:lnTo>
                    <a:pt x="3746" y="568"/>
                  </a:lnTo>
                  <a:cubicBezTo>
                    <a:pt x="3770" y="554"/>
                    <a:pt x="3796" y="548"/>
                    <a:pt x="3822" y="548"/>
                  </a:cubicBezTo>
                  <a:cubicBezTo>
                    <a:pt x="3843" y="548"/>
                    <a:pt x="3864" y="552"/>
                    <a:pt x="3884" y="560"/>
                  </a:cubicBezTo>
                  <a:lnTo>
                    <a:pt x="2964" y="35"/>
                  </a:lnTo>
                  <a:cubicBezTo>
                    <a:pt x="2940" y="11"/>
                    <a:pt x="2905" y="1"/>
                    <a:pt x="2870" y="1"/>
                  </a:cubicBez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07" name="Google Shape;5207;p36"/>
          <p:cNvSpPr txBox="1">
            <a:spLocks noGrp="1"/>
          </p:cNvSpPr>
          <p:nvPr>
            <p:ph type="subTitle" idx="4294967295"/>
          </p:nvPr>
        </p:nvSpPr>
        <p:spPr>
          <a:xfrm>
            <a:off x="839416" y="1116614"/>
            <a:ext cx="2379600" cy="728210"/>
          </a:xfrm>
          <a:prstGeom prst="rect">
            <a:avLst/>
          </a:prstGeom>
          <a:solidFill>
            <a:srgbClr val="10A474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effectLst/>
                <a:latin typeface="Calibri" pitchFamily="34" charset="0"/>
                <a:cs typeface="Arial" charset="0"/>
              </a:rPr>
              <a:t>Urusan Wajib terkait </a:t>
            </a:r>
          </a:p>
          <a:p>
            <a:pPr marL="0" marR="0" lvl="0" indent="0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effectLst/>
                <a:latin typeface="Calibri" pitchFamily="34" charset="0"/>
                <a:cs typeface="Arial" charset="0"/>
              </a:rPr>
              <a:t>Pelayanan Dasar</a:t>
            </a:r>
            <a:endParaRPr kumimoji="0" lang="id-ID" sz="1600" b="1" i="0" u="none" strike="noStrike" cap="none" normalizeH="0" baseline="0" dirty="0">
              <a:ln>
                <a:noFill/>
              </a:ln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indent="0" algn="r">
              <a:spcBef>
                <a:spcPts val="0"/>
              </a:spcBef>
              <a:spcAft>
                <a:spcPts val="2133"/>
              </a:spcAft>
              <a:buNone/>
            </a:pPr>
            <a:endParaRPr sz="1600" dirty="0">
              <a:latin typeface="Staatliches"/>
              <a:ea typeface="Staatliches"/>
              <a:cs typeface="Staatliches"/>
              <a:sym typeface="Staatliches"/>
            </a:endParaRPr>
          </a:p>
        </p:txBody>
      </p:sp>
      <p:sp>
        <p:nvSpPr>
          <p:cNvPr id="5208" name="Google Shape;5208;p36"/>
          <p:cNvSpPr txBox="1">
            <a:spLocks noGrp="1"/>
          </p:cNvSpPr>
          <p:nvPr>
            <p:ph type="subTitle" idx="4294967295"/>
          </p:nvPr>
        </p:nvSpPr>
        <p:spPr>
          <a:xfrm>
            <a:off x="182707" y="2087093"/>
            <a:ext cx="3190660" cy="287545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ndidikan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esehatan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pekerjaan umum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 dan </a:t>
            </a:r>
            <a:r>
              <a:rPr kumimoji="0" lang="en-US" sz="16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penataan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6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ruang</a:t>
            </a: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charset="0"/>
              </a:rPr>
              <a:t>sosial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rumahan rakyat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 dan </a:t>
            </a:r>
            <a:r>
              <a:rPr kumimoji="0" lang="en-US" sz="16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awasan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600" b="1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rmukiman</a:t>
            </a: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;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 dan</a:t>
            </a:r>
            <a:endParaRPr kumimoji="0" lang="id-ID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etentraman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, </a:t>
            </a: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etertiban umum 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dan</a:t>
            </a: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 perlindungan masyarakat</a:t>
            </a:r>
            <a:r>
              <a:rPr kumimoji="0" 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.</a:t>
            </a:r>
            <a:endParaRPr kumimoji="0" lang="id-ID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endParaRPr sz="1600" dirty="0">
              <a:solidFill>
                <a:schemeClr val="lt1"/>
              </a:solidFill>
            </a:endParaRPr>
          </a:p>
        </p:txBody>
      </p:sp>
      <p:cxnSp>
        <p:nvCxnSpPr>
          <p:cNvPr id="5209" name="Google Shape;5209;p36"/>
          <p:cNvCxnSpPr>
            <a:cxnSpLocks/>
          </p:cNvCxnSpPr>
          <p:nvPr/>
        </p:nvCxnSpPr>
        <p:spPr>
          <a:xfrm flipV="1">
            <a:off x="8125552" y="1124744"/>
            <a:ext cx="0" cy="5365223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210" name="Google Shape;5210;p36"/>
          <p:cNvCxnSpPr>
            <a:cxnSpLocks/>
          </p:cNvCxnSpPr>
          <p:nvPr/>
        </p:nvCxnSpPr>
        <p:spPr>
          <a:xfrm flipV="1">
            <a:off x="11774617" y="2012901"/>
            <a:ext cx="0" cy="434301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211" name="Google Shape;5211;p36"/>
          <p:cNvCxnSpPr>
            <a:cxnSpLocks/>
          </p:cNvCxnSpPr>
          <p:nvPr/>
        </p:nvCxnSpPr>
        <p:spPr>
          <a:xfrm flipV="1">
            <a:off x="3414367" y="1557544"/>
            <a:ext cx="0" cy="4798368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212" name="Google Shape;5212;p36"/>
          <p:cNvSpPr txBox="1">
            <a:spLocks noGrp="1"/>
          </p:cNvSpPr>
          <p:nvPr>
            <p:ph type="subTitle" idx="4294967295"/>
          </p:nvPr>
        </p:nvSpPr>
        <p:spPr>
          <a:xfrm>
            <a:off x="5663952" y="980728"/>
            <a:ext cx="2379600" cy="720832"/>
          </a:xfrm>
          <a:prstGeom prst="rect">
            <a:avLst/>
          </a:prstGeom>
          <a:solidFill>
            <a:srgbClr val="263238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 algn="r">
              <a:spcBef>
                <a:spcPts val="0"/>
              </a:spcBef>
              <a:spcAft>
                <a:spcPts val="2133"/>
              </a:spcAft>
              <a:buNone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Urusan Wajib tidak terkait Pelayanan Dasar</a:t>
            </a:r>
            <a:endParaRPr kumimoji="0" lang="id-ID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indent="0" algn="r">
              <a:spcBef>
                <a:spcPts val="0"/>
              </a:spcBef>
              <a:spcAft>
                <a:spcPts val="2133"/>
              </a:spcAft>
              <a:buNone/>
            </a:pPr>
            <a:endParaRPr sz="1600" dirty="0">
              <a:solidFill>
                <a:schemeClr val="bg1"/>
              </a:solidFill>
              <a:latin typeface="Staatliches"/>
              <a:ea typeface="Staatliches"/>
              <a:cs typeface="Staatliches"/>
              <a:sym typeface="Staatliches"/>
            </a:endParaRPr>
          </a:p>
        </p:txBody>
      </p:sp>
      <p:sp>
        <p:nvSpPr>
          <p:cNvPr id="5213" name="Google Shape;5213;p36"/>
          <p:cNvSpPr txBox="1">
            <a:spLocks noGrp="1"/>
          </p:cNvSpPr>
          <p:nvPr>
            <p:ph type="subTitle" idx="4294967295"/>
          </p:nvPr>
        </p:nvSpPr>
        <p:spPr>
          <a:xfrm>
            <a:off x="3359696" y="1882651"/>
            <a:ext cx="4841866" cy="5263006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tenaga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kerja</a:t>
            </a: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;</a:t>
            </a:r>
            <a:endParaRPr kumimoji="0" lang="en-US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mberdayaan perempuan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 dan </a:t>
            </a:r>
            <a:r>
              <a:rPr kumimoji="0" lang="en-US" sz="1500" b="1" i="0" u="none" strike="noStrike" kern="1200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rlindungan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 </a:t>
            </a:r>
            <a:r>
              <a:rPr kumimoji="0" lang="en-US" sz="1500" b="1" i="0" u="none" strike="noStrike" kern="1200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anak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;</a:t>
            </a:r>
            <a:endParaRPr kumimoji="0" lang="id-ID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pangan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pertanahan;</a:t>
            </a:r>
            <a:endParaRPr kumimoji="0" lang="en-US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lingkungan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hidup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Administrasi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kependudukan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 dan </a:t>
            </a: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catatan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 </a:t>
            </a:r>
            <a:r>
              <a:rPr kumimoji="0" lang="en-US" sz="15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sipil</a:t>
            </a:r>
            <a:r>
              <a:rPr kumimoji="0" lang="en-US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;</a:t>
            </a:r>
            <a:endParaRPr kumimoji="0" lang="id-ID" sz="1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mberdayaan masyarakat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 </a:t>
            </a: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desa</a:t>
            </a:r>
            <a:r>
              <a:rPr kumimoji="0" lang="en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;</a:t>
            </a:r>
            <a:endParaRPr kumimoji="0" lang="en-US" sz="1500" b="1" i="0" u="none" strike="noStrike" kern="1200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ea typeface="+mn-ea"/>
              <a:cs typeface="Arial" charset="0"/>
            </a:endParaRP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kern="1200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ngendalian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 </a:t>
            </a:r>
            <a:r>
              <a:rPr kumimoji="0" lang="en-US" sz="1500" b="1" i="0" u="none" strike="noStrike" kern="1200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nduduk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 dan KB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en-US" sz="1500" b="1" i="0" u="none" strike="noStrike" kern="1200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rhubungan</a:t>
            </a:r>
            <a:r>
              <a:rPr kumimoji="0" lang="en-US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komunikasi dan informatika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koperasi, usaha kecil, dan menengah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penanaman modal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kepemudaan dan olah raga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statistik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persandian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kern="1200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ea typeface="+mn-ea"/>
                <a:cs typeface="Arial" charset="0"/>
              </a:rPr>
              <a:t>kebudayaan;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perpustakaan; dan</a:t>
            </a:r>
          </a:p>
          <a:p>
            <a:pPr marL="180975" marR="0" lvl="0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5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Arial" charset="0"/>
              </a:rPr>
              <a:t>kearsipan.</a:t>
            </a:r>
            <a:endParaRPr sz="1500" dirty="0">
              <a:solidFill>
                <a:schemeClr val="bg1"/>
              </a:solidFill>
            </a:endParaRPr>
          </a:p>
        </p:txBody>
      </p:sp>
      <p:sp>
        <p:nvSpPr>
          <p:cNvPr id="5214" name="Google Shape;5214;p36"/>
          <p:cNvSpPr txBox="1">
            <a:spLocks noGrp="1"/>
          </p:cNvSpPr>
          <p:nvPr>
            <p:ph type="subTitle" idx="4294967295"/>
          </p:nvPr>
        </p:nvSpPr>
        <p:spPr>
          <a:xfrm>
            <a:off x="9321951" y="1124744"/>
            <a:ext cx="2379600" cy="4328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 algn="r">
              <a:spcBef>
                <a:spcPts val="0"/>
              </a:spcBef>
              <a:spcAft>
                <a:spcPts val="2133"/>
              </a:spcAft>
              <a:buNone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effectLst/>
                <a:latin typeface="Calibri" pitchFamily="34" charset="0"/>
                <a:cs typeface="Arial" charset="0"/>
              </a:rPr>
              <a:t>Urusan Pilihan</a:t>
            </a:r>
            <a:endParaRPr sz="1600" dirty="0">
              <a:latin typeface="Staatliches"/>
              <a:ea typeface="Staatliches"/>
              <a:cs typeface="Staatliches"/>
              <a:sym typeface="Staatliches"/>
            </a:endParaRPr>
          </a:p>
        </p:txBody>
      </p:sp>
      <p:sp>
        <p:nvSpPr>
          <p:cNvPr id="5215" name="Google Shape;5215;p36"/>
          <p:cNvSpPr txBox="1">
            <a:spLocks noGrp="1"/>
          </p:cNvSpPr>
          <p:nvPr>
            <p:ph type="subTitle" idx="4294967295"/>
          </p:nvPr>
        </p:nvSpPr>
        <p:spPr>
          <a:xfrm>
            <a:off x="9109161" y="2204864"/>
            <a:ext cx="2379600" cy="3136218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elautan dan perikanan;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ariwisata;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rtanian;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kehutanan;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energi dan sumber daya mineral;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rdagangan; 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perindustrian; dan</a:t>
            </a:r>
          </a:p>
          <a:p>
            <a:pPr marL="180975" marR="0" lvl="1" indent="-180975" algn="ctr" defTabSz="914400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itchFamily="34" charset="0"/>
              <a:buAutoNum type="arabicParenR"/>
              <a:tabLst/>
            </a:pPr>
            <a:r>
              <a:rPr kumimoji="0" lang="id-ID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charset="0"/>
              </a:rPr>
              <a:t>transmigrasi.</a:t>
            </a:r>
            <a:endParaRPr kumimoji="0" lang="id-ID" sz="16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endParaRPr sz="1600" dirty="0">
              <a:solidFill>
                <a:schemeClr val="lt1"/>
              </a:solidFill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27933B1F-D0CE-4BFA-8D41-56B21637CE75}"/>
              </a:ext>
            </a:extLst>
          </p:cNvPr>
          <p:cNvSpPr/>
          <p:nvPr/>
        </p:nvSpPr>
        <p:spPr>
          <a:xfrm rot="5400000">
            <a:off x="1614144" y="3646660"/>
            <a:ext cx="337913" cy="3009174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id="{8905DCAD-4395-48E1-A96E-E270B6445C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9818" y="5435377"/>
            <a:ext cx="163726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yana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inim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FF0000"/>
                </a:solidFill>
                <a:latin typeface="Calibri" panose="020F0502020204030204"/>
              </a:rPr>
              <a:t>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M)</a:t>
            </a:r>
          </a:p>
        </p:txBody>
      </p:sp>
    </p:spTree>
    <p:extLst>
      <p:ext uri="{BB962C8B-B14F-4D97-AF65-F5344CB8AC3E}">
        <p14:creationId xmlns:p14="http://schemas.microsoft.com/office/powerpoint/2010/main" val="62014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5000"/>
                <a:lumOff val="95000"/>
              </a:schemeClr>
            </a:gs>
            <a:gs pos="74000">
              <a:schemeClr val="accent5">
                <a:lumMod val="45000"/>
                <a:lumOff val="55000"/>
              </a:schemeClr>
            </a:gs>
            <a:gs pos="83000">
              <a:schemeClr val="accent5">
                <a:lumMod val="45000"/>
                <a:lumOff val="55000"/>
              </a:schemeClr>
            </a:gs>
            <a:gs pos="100000">
              <a:schemeClr val="accent5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199457" y="0"/>
            <a:ext cx="9865095" cy="764704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0513" indent="-290513">
              <a:lnSpc>
                <a:spcPct val="90000"/>
              </a:lnSpc>
              <a:spcBef>
                <a:spcPct val="20000"/>
              </a:spcBef>
            </a:pPr>
            <a:r>
              <a:rPr lang="en-US" sz="2800" b="1" dirty="0">
                <a:solidFill>
                  <a:prstClr val="white"/>
                </a:solidFill>
                <a:latin typeface="Calibri"/>
              </a:rPr>
              <a:t>POLA KEPUTUSAN BUPATI/WALIKOTA</a:t>
            </a:r>
            <a:br>
              <a:rPr lang="en-US" sz="2800" b="1" dirty="0">
                <a:solidFill>
                  <a:prstClr val="white"/>
                </a:solidFill>
                <a:latin typeface="Calibri"/>
              </a:rPr>
            </a:br>
            <a:r>
              <a:rPr lang="en-US" sz="2800" b="1" dirty="0">
                <a:solidFill>
                  <a:prstClr val="white"/>
                </a:solidFill>
                <a:latin typeface="Calibri"/>
              </a:rPr>
              <a:t>UNTUK PELIMPAHAN KEWENANGAN KEPADA CAMAT</a:t>
            </a: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Oval 7"/>
          <p:cNvSpPr/>
          <p:nvPr/>
        </p:nvSpPr>
        <p:spPr>
          <a:xfrm>
            <a:off x="2639616" y="1449450"/>
            <a:ext cx="1440160" cy="7920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Oval 8"/>
          <p:cNvSpPr/>
          <p:nvPr/>
        </p:nvSpPr>
        <p:spPr>
          <a:xfrm>
            <a:off x="2639616" y="1238429"/>
            <a:ext cx="1440160" cy="79208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prstClr val="white"/>
                </a:solidFill>
                <a:latin typeface="Calibri"/>
              </a:rPr>
              <a:t>Pola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I</a:t>
            </a:r>
          </a:p>
          <a:p>
            <a:pPr algn="ctr"/>
            <a:r>
              <a:rPr lang="en-US" dirty="0" err="1">
                <a:solidFill>
                  <a:prstClr val="white"/>
                </a:solidFill>
                <a:latin typeface="Calibri"/>
              </a:rPr>
              <a:t>Seragam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Oval 9"/>
          <p:cNvSpPr/>
          <p:nvPr/>
        </p:nvSpPr>
        <p:spPr>
          <a:xfrm>
            <a:off x="8062598" y="1383370"/>
            <a:ext cx="1656183" cy="7920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8062599" y="1115759"/>
            <a:ext cx="1656183" cy="88563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prstClr val="white"/>
                </a:solidFill>
                <a:latin typeface="Calibri"/>
              </a:rPr>
              <a:t>Pola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II</a:t>
            </a:r>
          </a:p>
          <a:p>
            <a:pPr algn="ctr"/>
            <a:r>
              <a:rPr lang="en-US" dirty="0" err="1">
                <a:solidFill>
                  <a:prstClr val="white"/>
                </a:solidFill>
                <a:latin typeface="Calibri"/>
              </a:rPr>
              <a:t>Beraneka</a:t>
            </a:r>
            <a:r>
              <a:rPr lang="en-US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US" dirty="0" err="1">
                <a:solidFill>
                  <a:prstClr val="white"/>
                </a:solidFill>
                <a:latin typeface="Calibri"/>
              </a:rPr>
              <a:t>Ragam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CE1716-99AD-48F0-8914-6382116ED9A4}"/>
              </a:ext>
            </a:extLst>
          </p:cNvPr>
          <p:cNvSpPr/>
          <p:nvPr/>
        </p:nvSpPr>
        <p:spPr>
          <a:xfrm>
            <a:off x="2373388" y="2390236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39617" y="2320344"/>
            <a:ext cx="1997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b="1" dirty="0" err="1">
                <a:solidFill>
                  <a:prstClr val="black"/>
                </a:solidFill>
                <a:latin typeface="Calibri"/>
              </a:rPr>
              <a:t>Seragam</a:t>
            </a:r>
            <a:r>
              <a:rPr lang="en-ID" sz="16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ID" sz="1600" b="1" dirty="0" err="1">
                <a:solidFill>
                  <a:prstClr val="black"/>
                </a:solidFill>
                <a:latin typeface="Calibri"/>
              </a:rPr>
              <a:t>Untuk</a:t>
            </a:r>
            <a:r>
              <a:rPr lang="en-ID" sz="16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ID" sz="1600" b="1" dirty="0" err="1">
                <a:solidFill>
                  <a:prstClr val="black"/>
                </a:solidFill>
                <a:latin typeface="Calibri"/>
              </a:rPr>
              <a:t>Seluruh</a:t>
            </a:r>
            <a:r>
              <a:rPr lang="en-ID" sz="16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ID" sz="1600" b="1" dirty="0" err="1">
                <a:solidFill>
                  <a:prstClr val="black"/>
                </a:solidFill>
                <a:latin typeface="Calibri"/>
              </a:rPr>
              <a:t>Kecamatan</a:t>
            </a:r>
            <a:endParaRPr lang="en-US" sz="16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63291" y="3365530"/>
            <a:ext cx="2232248" cy="2246769"/>
          </a:xfrm>
          <a:prstGeom prst="rect">
            <a:avLst/>
          </a:prstGeom>
          <a:solidFill>
            <a:srgbClr val="EB523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7800" indent="-177800">
              <a:defRPr/>
            </a:pPr>
            <a:r>
              <a:rPr lang="en-ID" sz="1400" b="1" dirty="0" err="1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Keunggulan</a:t>
            </a: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 :</a:t>
            </a:r>
          </a:p>
          <a:p>
            <a:pPr marL="177800" indent="-177800">
              <a:defRPr/>
            </a:pP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1. </a:t>
            </a:r>
            <a:r>
              <a:rPr lang="id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Lebih responsif thd kebutuhan pelayanan masy</a:t>
            </a: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;</a:t>
            </a:r>
          </a:p>
          <a:p>
            <a:pPr marL="177800" indent="-177800">
              <a:defRPr/>
            </a:pP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2. </a:t>
            </a:r>
            <a:r>
              <a:rPr lang="id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Kebutuhan personil, anggaran &amp; logistik dpt</a:t>
            </a: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 </a:t>
            </a:r>
            <a:r>
              <a:rPr lang="id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dihitung scr obyektif &amp; rasional;</a:t>
            </a:r>
            <a:endParaRPr lang="en-ID" sz="1400" b="1" dirty="0">
              <a:solidFill>
                <a:schemeClr val="tx1"/>
              </a:solidFill>
              <a:latin typeface="Calibri"/>
              <a:cs typeface="Arial" pitchFamily="34" charset="0"/>
              <a:sym typeface="Wingdings" pitchFamily="2" charset="2"/>
            </a:endParaRPr>
          </a:p>
          <a:p>
            <a:pPr marL="177800" indent="-177800">
              <a:defRPr/>
            </a:pP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3. </a:t>
            </a:r>
            <a:r>
              <a:rPr lang="id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Memudahkan dalam pengukuran kinerja</a:t>
            </a:r>
            <a:r>
              <a:rPr lang="en-ID" sz="1400" b="1" dirty="0">
                <a:solidFill>
                  <a:schemeClr val="tx1"/>
                </a:solidFill>
                <a:latin typeface="Calibri"/>
                <a:cs typeface="Arial" pitchFamily="34" charset="0"/>
                <a:sym typeface="Wingdings" pitchFamily="2" charset="2"/>
              </a:rPr>
              <a:t>.</a:t>
            </a:r>
            <a:endParaRPr lang="id-ID" sz="1400" b="1" dirty="0">
              <a:solidFill>
                <a:schemeClr val="tx1"/>
              </a:solidFill>
              <a:latin typeface="Calibri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96343" y="2216477"/>
            <a:ext cx="434553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pPr algn="just"/>
            <a:r>
              <a:rPr lang="id-ID" sz="1400" dirty="0">
                <a:solidFill>
                  <a:prstClr val="black"/>
                </a:solidFill>
                <a:latin typeface="Calibri"/>
                <a:sym typeface="Webdings" pitchFamily="18" charset="2"/>
              </a:rPr>
              <a:t>Seragam</a:t>
            </a:r>
            <a:r>
              <a:rPr lang="en-US" sz="1400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utk kewenangan tertentu yg bersifat umum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(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generik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),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ditambah kewenangan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spesifik sesuai karakteristik wilayah &amp;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penduduk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 (</a:t>
            </a:r>
            <a:r>
              <a:rPr lang="id-ID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kondisional</a:t>
            </a:r>
            <a:r>
              <a:rPr lang="en-US" b="1" dirty="0">
                <a:solidFill>
                  <a:prstClr val="black"/>
                </a:solidFill>
                <a:latin typeface="Calibri"/>
                <a:sym typeface="Webdings" pitchFamily="18" charset="2"/>
              </a:rPr>
              <a:t>)</a:t>
            </a:r>
            <a:endParaRPr lang="id-ID" b="1" dirty="0">
              <a:solidFill>
                <a:prstClr val="black"/>
              </a:solidFill>
              <a:latin typeface="Calibri"/>
              <a:sym typeface="Webdings" pitchFamily="18" charset="2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8CE1716-99AD-48F0-8914-6382116ED9A4}"/>
              </a:ext>
            </a:extLst>
          </p:cNvPr>
          <p:cNvSpPr/>
          <p:nvPr/>
        </p:nvSpPr>
        <p:spPr>
          <a:xfrm>
            <a:off x="6366386" y="2331191"/>
            <a:ext cx="216024" cy="216024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616280" y="3365530"/>
            <a:ext cx="2536976" cy="2246769"/>
          </a:xfrm>
          <a:prstGeom prst="rect">
            <a:avLst/>
          </a:prstGeom>
          <a:solidFill>
            <a:srgbClr val="1D8164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7800" indent="-177800"/>
            <a:r>
              <a:rPr lang="en-ID" sz="1400" b="1" dirty="0" err="1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Kelemahan</a:t>
            </a:r>
            <a:r>
              <a:rPr lang="en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 :</a:t>
            </a:r>
          </a:p>
          <a:p>
            <a:pPr marL="177800" indent="-177800"/>
            <a:r>
              <a:rPr lang="en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1. </a:t>
            </a:r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Memerlukan waktu &amp; tenaga utk menyusunnya;</a:t>
            </a:r>
          </a:p>
          <a:p>
            <a:pPr marL="177800" indent="-177800"/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2.	Agak sulit dlm pengendalian &amp; pengawasannya;</a:t>
            </a:r>
          </a:p>
          <a:p>
            <a:pPr marL="177800" indent="-177800">
              <a:buFont typeface="Wingdings" pitchFamily="2" charset="2"/>
              <a:buAutoNum type="arabicPeriod" startAt="3"/>
            </a:pPr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Memerlukan personil yg memiliki kualifikasi sesuai kebutuhan pelayanan masy</a:t>
            </a:r>
            <a:r>
              <a:rPr lang="en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.</a:t>
            </a:r>
          </a:p>
          <a:p>
            <a:pPr marL="342900" indent="-342900">
              <a:buFont typeface="Wingdings" pitchFamily="2" charset="2"/>
              <a:buAutoNum type="arabicPeriod" startAt="3"/>
            </a:pPr>
            <a:endParaRPr lang="en-ID" sz="1400" b="1" dirty="0">
              <a:solidFill>
                <a:schemeClr val="bg1"/>
              </a:solidFill>
              <a:latin typeface="Calibri"/>
              <a:cs typeface="Arial" pitchFamily="34" charset="0"/>
              <a:sym typeface="Wingdings" pitchFamily="2" charset="2"/>
            </a:endParaRPr>
          </a:p>
          <a:p>
            <a:endParaRPr lang="id-ID" sz="1400" b="1" dirty="0">
              <a:solidFill>
                <a:schemeClr val="bg1"/>
              </a:solidFill>
              <a:latin typeface="Calibri"/>
              <a:cs typeface="Arial" pitchFamily="34" charset="0"/>
              <a:sym typeface="Wingdings" pitchFamily="2" charset="2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816C276-D03C-4F53-8480-8D064E72BFC7}"/>
              </a:ext>
            </a:extLst>
          </p:cNvPr>
          <p:cNvCxnSpPr/>
          <p:nvPr/>
        </p:nvCxnSpPr>
        <p:spPr>
          <a:xfrm>
            <a:off x="6023992" y="1186256"/>
            <a:ext cx="0" cy="4547000"/>
          </a:xfrm>
          <a:prstGeom prst="line">
            <a:avLst/>
          </a:prstGeom>
          <a:ln w="762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1217021" y="3323851"/>
            <a:ext cx="2304257" cy="1815882"/>
          </a:xfrm>
          <a:prstGeom prst="rect">
            <a:avLst/>
          </a:prstGeom>
          <a:solidFill>
            <a:srgbClr val="1D8164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7800" indent="-177800"/>
            <a:r>
              <a:rPr lang="en-ID" sz="1400" b="1" dirty="0" err="1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Keunggulan</a:t>
            </a:r>
            <a:r>
              <a:rPr lang="en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 :</a:t>
            </a:r>
          </a:p>
          <a:p>
            <a:pPr marL="177800" indent="-177800"/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1.	Mudah dalam pembuatannya;</a:t>
            </a:r>
          </a:p>
          <a:p>
            <a:pPr marL="177800" indent="-177800"/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2.	Mudah dlm pengaturan &amp; pengendaliannya;</a:t>
            </a:r>
          </a:p>
          <a:p>
            <a:pPr marL="177800" indent="-177800">
              <a:buFont typeface="Wingdings" pitchFamily="2" charset="2"/>
              <a:buAutoNum type="arabicPeriod" startAt="3"/>
            </a:pPr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Mudah dlm pembinaan personil, anggaran,</a:t>
            </a:r>
            <a:r>
              <a:rPr lang="en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 &amp; </a:t>
            </a:r>
            <a:r>
              <a:rPr lang="id-ID" sz="1400" b="1" dirty="0">
                <a:solidFill>
                  <a:schemeClr val="bg1"/>
                </a:solidFill>
                <a:latin typeface="Calibri"/>
                <a:cs typeface="Arial" pitchFamily="34" charset="0"/>
                <a:sym typeface="Wingdings" pitchFamily="2" charset="2"/>
              </a:rPr>
              <a:t>logistik.</a:t>
            </a:r>
            <a:endParaRPr lang="en-ID" sz="1400" b="1" dirty="0">
              <a:solidFill>
                <a:schemeClr val="bg1"/>
              </a:solidFill>
              <a:latin typeface="Calibri"/>
              <a:cs typeface="Arial" pitchFamily="34" charset="0"/>
              <a:sym typeface="Wingdings" pitchFamily="2" charset="2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642618" y="3323852"/>
            <a:ext cx="2169375" cy="2246769"/>
          </a:xfrm>
          <a:prstGeom prst="rect">
            <a:avLst/>
          </a:prstGeom>
          <a:solidFill>
            <a:srgbClr val="EB523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77800" indent="-177800"/>
            <a:r>
              <a:rPr lang="en-ID" sz="1400" b="1" dirty="0" err="1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Kelemahan</a:t>
            </a:r>
            <a:r>
              <a:rPr lang="en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 :</a:t>
            </a:r>
          </a:p>
          <a:p>
            <a:pPr marL="177800" indent="-177800"/>
            <a:r>
              <a:rPr lang="en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1. </a:t>
            </a:r>
            <a:r>
              <a:rPr lang="id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Tidak responsif dgn kebutuhan masyarakat;</a:t>
            </a:r>
          </a:p>
          <a:p>
            <a:pPr marL="177800" indent="-177800"/>
            <a:r>
              <a:rPr lang="id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2.	Penyediaan personil, anggaran &amp; logistik tdk sesuai kebutuhan nyata shg sulit utk mencapai efektivitas &amp; efisiensi;</a:t>
            </a:r>
          </a:p>
          <a:p>
            <a:pPr marL="177800" indent="-177800"/>
            <a:r>
              <a:rPr lang="id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3.	Sulit mengukur kinerja organisasi s</a:t>
            </a:r>
            <a:r>
              <a:rPr lang="en-US" sz="1400" b="1" dirty="0" err="1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ec</a:t>
            </a:r>
            <a:r>
              <a:rPr lang="id-ID" sz="1400" b="1" dirty="0">
                <a:solidFill>
                  <a:prstClr val="black"/>
                </a:solidFill>
                <a:latin typeface="Calibri"/>
                <a:cs typeface="Arial" pitchFamily="34" charset="0"/>
                <a:sym typeface="Wingdings" pitchFamily="2" charset="2"/>
              </a:rPr>
              <a:t> obyektif.</a:t>
            </a:r>
          </a:p>
        </p:txBody>
      </p:sp>
      <p:sp>
        <p:nvSpPr>
          <p:cNvPr id="53" name="Horizontal Scroll 52"/>
          <p:cNvSpPr/>
          <p:nvPr/>
        </p:nvSpPr>
        <p:spPr>
          <a:xfrm>
            <a:off x="3503713" y="5612299"/>
            <a:ext cx="5112567" cy="1245701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prstClr val="white"/>
                </a:solidFill>
                <a:latin typeface="Calibri"/>
                <a:cs typeface="Arial" pitchFamily="34" charset="0"/>
                <a:sym typeface="Webdings" pitchFamily="18" charset="2"/>
              </a:rPr>
              <a:t>Menjadikan Kec sbg PUSYANMAS utk pelayanan </a:t>
            </a:r>
            <a:endParaRPr lang="en-ID" b="1" dirty="0">
              <a:solidFill>
                <a:prstClr val="white"/>
              </a:solidFill>
              <a:latin typeface="Calibri"/>
              <a:cs typeface="Arial" pitchFamily="34" charset="0"/>
              <a:sym typeface="Webdings" pitchFamily="18" charset="2"/>
            </a:endParaRPr>
          </a:p>
          <a:p>
            <a:pPr algn="ctr"/>
            <a:r>
              <a:rPr lang="id-ID" b="1" dirty="0">
                <a:solidFill>
                  <a:prstClr val="white"/>
                </a:solidFill>
                <a:latin typeface="Calibri"/>
                <a:cs typeface="Arial" pitchFamily="34" charset="0"/>
                <a:sym typeface="Webdings" pitchFamily="18" charset="2"/>
              </a:rPr>
              <a:t>yg sederhana, murah &amp; cepat</a:t>
            </a:r>
            <a:r>
              <a:rPr lang="en-US" b="1" dirty="0">
                <a:solidFill>
                  <a:prstClr val="white"/>
                </a:solidFill>
                <a:latin typeface="Calibri"/>
                <a:cs typeface="Arial" pitchFamily="34" charset="0"/>
                <a:sym typeface="Webdings" pitchFamily="18" charset="2"/>
              </a:rPr>
              <a:t> </a:t>
            </a:r>
            <a:endParaRPr lang="id-ID" b="1" dirty="0">
              <a:solidFill>
                <a:prstClr val="white"/>
              </a:solidFill>
              <a:latin typeface="Calibri"/>
              <a:cs typeface="Arial" pitchFamily="34" charset="0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51221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685801" y="1280162"/>
            <a:ext cx="10394707" cy="509292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lnSpc>
                <a:spcPct val="120000"/>
              </a:lnSpc>
              <a:buNone/>
            </a:pP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Mempertimbangkan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lvl="0">
              <a:lnSpc>
                <a:spcPct val="120000"/>
              </a:lnSpc>
            </a:pP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akteristik 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Kecamatan Yang Sesuai Dengan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Letak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Geografis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Kondisi Lokal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Sistem Pelayanan Yang Mudah, Murah, Cepat Dan Transparan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Sara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a Dan Prasarana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Meliputi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Ruangan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Peralatan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Kantor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Untuk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Mendukung Pelayanan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Ketersediaan Dan </a:t>
            </a: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si 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Sumber Daya Manusia Untuk Melaksanakan Tugas Dan Fungsi Yang Melekat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Penganggaran Sesuai Dengan Rencana Kerja Anggaran Kecamatan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Objek Pelimpahan </a:t>
            </a: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la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Kecil Yang Ditetapkan Oleh Kabupaten/Kota;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20000"/>
              </a:lnSpc>
            </a:pP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sitas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Pelayanan Pemerintahan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Kecamatan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lvl="0">
              <a:lnSpc>
                <a:spcPct val="120000"/>
              </a:lnSpc>
            </a:pP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pak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 Yang Ditimbulkan Bersifat Lokal Kecamatan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1800" cap="none" dirty="0" err="1"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endParaRPr lang="en-US" sz="1800" cap="non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id-ID" sz="1800" cap="none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ng Kendali </a:t>
            </a:r>
            <a:r>
              <a:rPr lang="id-ID" sz="1800" cap="none" dirty="0">
                <a:latin typeface="Arial" panose="020B0604020202020204" pitchFamily="34" charset="0"/>
                <a:cs typeface="Arial" panose="020B0604020202020204" pitchFamily="34" charset="0"/>
              </a:rPr>
              <a:t>Pelayanan Ke Pusat Pemerintahan Relatif Jauh</a:t>
            </a:r>
            <a:r>
              <a:rPr lang="en-US" sz="1800" cap="none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5853CB-B8B0-493A-B265-AA7795626625}"/>
              </a:ext>
            </a:extLst>
          </p:cNvPr>
          <p:cNvSpPr txBox="1"/>
          <p:nvPr/>
        </p:nvSpPr>
        <p:spPr>
          <a:xfrm>
            <a:off x="381000" y="296858"/>
            <a:ext cx="11430000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OLAK UKUR PELIMPAHAN</a:t>
            </a:r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5412B7D6-9400-4B66-8814-DCF81BEB0C5A}"/>
              </a:ext>
            </a:extLst>
          </p:cNvPr>
          <p:cNvSpPr/>
          <p:nvPr/>
        </p:nvSpPr>
        <p:spPr>
          <a:xfrm rot="5400000" flipH="1">
            <a:off x="0" y="5372100"/>
            <a:ext cx="1485900" cy="1485900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ABBA9B-1329-47B1-9E6B-E01B6F3823E7}"/>
              </a:ext>
            </a:extLst>
          </p:cNvPr>
          <p:cNvSpPr/>
          <p:nvPr/>
        </p:nvSpPr>
        <p:spPr>
          <a:xfrm>
            <a:off x="10058400" y="97712"/>
            <a:ext cx="2133600" cy="1778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16433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635E2-1D24-4919-9434-CD7BBFC4B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92099"/>
            <a:ext cx="11023600" cy="777875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entury" panose="02040604050505020304" pitchFamily="18" charset="0"/>
              </a:rPr>
              <a:t>Tata Cara </a:t>
            </a:r>
            <a:r>
              <a:rPr lang="en-US" sz="4000" dirty="0" err="1">
                <a:latin typeface="Century" panose="02040604050505020304" pitchFamily="18" charset="0"/>
              </a:rPr>
              <a:t>Pelimpahan</a:t>
            </a:r>
            <a:r>
              <a:rPr lang="en-US" sz="4000" dirty="0">
                <a:latin typeface="Century" panose="02040604050505020304" pitchFamily="18" charset="0"/>
              </a:rPr>
              <a:t> </a:t>
            </a:r>
            <a:r>
              <a:rPr lang="en-US" sz="4000" dirty="0" err="1">
                <a:latin typeface="Century" panose="02040604050505020304" pitchFamily="18" charset="0"/>
              </a:rPr>
              <a:t>Kewenangan</a:t>
            </a:r>
            <a:r>
              <a:rPr lang="en-US" sz="4000" dirty="0">
                <a:latin typeface="Century" panose="02040604050505020304" pitchFamily="18" charset="0"/>
              </a:rPr>
              <a:t> </a:t>
            </a:r>
            <a:r>
              <a:rPr lang="en-US" sz="4000" dirty="0" err="1">
                <a:latin typeface="Century" panose="02040604050505020304" pitchFamily="18" charset="0"/>
              </a:rPr>
              <a:t>kpd</a:t>
            </a:r>
            <a:r>
              <a:rPr lang="en-US" sz="4000" dirty="0">
                <a:latin typeface="Century" panose="02040604050505020304" pitchFamily="18" charset="0"/>
              </a:rPr>
              <a:t> </a:t>
            </a:r>
            <a:r>
              <a:rPr lang="en-US" sz="4000" dirty="0" err="1">
                <a:latin typeface="Century" panose="02040604050505020304" pitchFamily="18" charset="0"/>
              </a:rPr>
              <a:t>Camat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B6CE5A8-A808-45B7-9867-C59D2D344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53A8B8-0320-463C-9CFC-F3F813B668D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68950C6-5C7A-4CA4-83D5-F3EA70C318D1}"/>
              </a:ext>
            </a:extLst>
          </p:cNvPr>
          <p:cNvCxnSpPr>
            <a:cxnSpLocks/>
          </p:cNvCxnSpPr>
          <p:nvPr/>
        </p:nvCxnSpPr>
        <p:spPr>
          <a:xfrm flipV="1">
            <a:off x="9748518" y="4240019"/>
            <a:ext cx="2736211" cy="448"/>
          </a:xfrm>
          <a:prstGeom prst="line">
            <a:avLst/>
          </a:prstGeom>
          <a:ln w="152400" cap="rnd">
            <a:solidFill>
              <a:srgbClr val="EB52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4FD23FC-930B-4744-9A7E-5C825732F459}"/>
              </a:ext>
            </a:extLst>
          </p:cNvPr>
          <p:cNvGrpSpPr/>
          <p:nvPr/>
        </p:nvGrpSpPr>
        <p:grpSpPr>
          <a:xfrm>
            <a:off x="-552932" y="2665666"/>
            <a:ext cx="11594625" cy="1574801"/>
            <a:chOff x="-1058707" y="2252712"/>
            <a:chExt cx="11594625" cy="157480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EECE7B4-41BF-4200-B310-9B85C9155902}"/>
                </a:ext>
              </a:extLst>
            </p:cNvPr>
            <p:cNvCxnSpPr>
              <a:cxnSpLocks/>
            </p:cNvCxnSpPr>
            <p:nvPr/>
          </p:nvCxnSpPr>
          <p:spPr>
            <a:xfrm>
              <a:off x="1479550" y="3827513"/>
              <a:ext cx="2715264" cy="0"/>
            </a:xfrm>
            <a:prstGeom prst="line">
              <a:avLst/>
            </a:prstGeom>
            <a:ln w="152400" cap="rnd">
              <a:solidFill>
                <a:srgbClr val="26AA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 11">
              <a:extLst>
                <a:ext uri="{FF2B5EF4-FFF2-40B4-BE49-F238E27FC236}">
                  <a16:creationId xmlns:a16="http://schemas.microsoft.com/office/drawing/2014/main" id="{1DFE0126-774A-4A0E-B70B-A8E6E74496B4}"/>
                </a:ext>
              </a:extLst>
            </p:cNvPr>
            <p:cNvSpPr/>
            <p:nvPr/>
          </p:nvSpPr>
          <p:spPr>
            <a:xfrm>
              <a:off x="692150" y="2252713"/>
              <a:ext cx="1574800" cy="1574800"/>
            </a:xfrm>
            <a:prstGeom prst="arc">
              <a:avLst>
                <a:gd name="adj1" fmla="val 5516007"/>
                <a:gd name="adj2" fmla="val 14758133"/>
              </a:avLst>
            </a:prstGeom>
            <a:ln w="152400" cap="rnd">
              <a:solidFill>
                <a:srgbClr val="26AA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Arc 12">
              <a:extLst>
                <a:ext uri="{FF2B5EF4-FFF2-40B4-BE49-F238E27FC236}">
                  <a16:creationId xmlns:a16="http://schemas.microsoft.com/office/drawing/2014/main" id="{C9354E65-C625-4A72-BCCE-E7EDB78008AB}"/>
                </a:ext>
              </a:extLst>
            </p:cNvPr>
            <p:cNvSpPr/>
            <p:nvPr/>
          </p:nvSpPr>
          <p:spPr>
            <a:xfrm flipH="1">
              <a:off x="692150" y="2252712"/>
              <a:ext cx="1574800" cy="1574800"/>
            </a:xfrm>
            <a:prstGeom prst="arc">
              <a:avLst>
                <a:gd name="adj1" fmla="val 8446752"/>
                <a:gd name="adj2" fmla="val 17611820"/>
              </a:avLst>
            </a:prstGeom>
            <a:ln w="152400" cap="rnd">
              <a:solidFill>
                <a:srgbClr val="26AA83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8763619-C0D7-4F43-81A9-7B38DACB8FC2}"/>
                </a:ext>
              </a:extLst>
            </p:cNvPr>
            <p:cNvSpPr/>
            <p:nvPr/>
          </p:nvSpPr>
          <p:spPr>
            <a:xfrm>
              <a:off x="966932" y="2527495"/>
              <a:ext cx="1025236" cy="1025236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1F26916-51B1-4699-A028-ED3C9F784D3A}"/>
                </a:ext>
              </a:extLst>
            </p:cNvPr>
            <p:cNvCxnSpPr>
              <a:cxnSpLocks/>
            </p:cNvCxnSpPr>
            <p:nvPr/>
          </p:nvCxnSpPr>
          <p:spPr>
            <a:xfrm>
              <a:off x="4270375" y="3827513"/>
              <a:ext cx="2715264" cy="0"/>
            </a:xfrm>
            <a:prstGeom prst="line">
              <a:avLst/>
            </a:prstGeom>
            <a:ln w="152400" cap="rnd">
              <a:solidFill>
                <a:srgbClr val="EB52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5B6C5478-682C-416C-8D8B-F3A1558A2450}"/>
                </a:ext>
              </a:extLst>
            </p:cNvPr>
            <p:cNvSpPr/>
            <p:nvPr/>
          </p:nvSpPr>
          <p:spPr>
            <a:xfrm>
              <a:off x="3482975" y="2252713"/>
              <a:ext cx="1574800" cy="1574800"/>
            </a:xfrm>
            <a:prstGeom prst="arc">
              <a:avLst>
                <a:gd name="adj1" fmla="val 5516007"/>
                <a:gd name="adj2" fmla="val 14758133"/>
              </a:avLst>
            </a:prstGeom>
            <a:ln w="152400" cap="rnd">
              <a:solidFill>
                <a:srgbClr val="EB52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736BC7FF-7C5A-4D70-A146-F6F8D28CC2DD}"/>
                </a:ext>
              </a:extLst>
            </p:cNvPr>
            <p:cNvSpPr/>
            <p:nvPr/>
          </p:nvSpPr>
          <p:spPr>
            <a:xfrm flipH="1">
              <a:off x="3482975" y="2252712"/>
              <a:ext cx="1574800" cy="1574800"/>
            </a:xfrm>
            <a:prstGeom prst="arc">
              <a:avLst>
                <a:gd name="adj1" fmla="val 8446752"/>
                <a:gd name="adj2" fmla="val 17611820"/>
              </a:avLst>
            </a:prstGeom>
            <a:ln w="152400" cap="rnd">
              <a:solidFill>
                <a:srgbClr val="EB5232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B2A8D5-5EE8-440B-90E7-77740F1120E2}"/>
                </a:ext>
              </a:extLst>
            </p:cNvPr>
            <p:cNvSpPr/>
            <p:nvPr/>
          </p:nvSpPr>
          <p:spPr>
            <a:xfrm>
              <a:off x="3757757" y="2527495"/>
              <a:ext cx="1025236" cy="1025236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DE18F2C-44E8-494A-8E20-3CC0E40E2D91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 flipV="1">
              <a:off x="7033256" y="3827065"/>
              <a:ext cx="2688696" cy="448"/>
            </a:xfrm>
            <a:prstGeom prst="line">
              <a:avLst/>
            </a:prstGeom>
            <a:ln w="152400" cap="rnd">
              <a:solidFill>
                <a:srgbClr val="26AA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E325873E-CC97-4F4B-B376-C8B4AEFD2C2A}"/>
                </a:ext>
              </a:extLst>
            </p:cNvPr>
            <p:cNvSpPr/>
            <p:nvPr/>
          </p:nvSpPr>
          <p:spPr>
            <a:xfrm>
              <a:off x="6245856" y="2252713"/>
              <a:ext cx="1574800" cy="1574800"/>
            </a:xfrm>
            <a:prstGeom prst="arc">
              <a:avLst>
                <a:gd name="adj1" fmla="val 5516007"/>
                <a:gd name="adj2" fmla="val 14758133"/>
              </a:avLst>
            </a:prstGeom>
            <a:ln w="152400" cap="rnd">
              <a:solidFill>
                <a:srgbClr val="26AA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3D294F97-E6F3-4B83-A17C-7B50E70EB7FF}"/>
                </a:ext>
              </a:extLst>
            </p:cNvPr>
            <p:cNvSpPr/>
            <p:nvPr/>
          </p:nvSpPr>
          <p:spPr>
            <a:xfrm flipH="1">
              <a:off x="6245856" y="2252712"/>
              <a:ext cx="1574800" cy="1574800"/>
            </a:xfrm>
            <a:prstGeom prst="arc">
              <a:avLst>
                <a:gd name="adj1" fmla="val 8446752"/>
                <a:gd name="adj2" fmla="val 17611820"/>
              </a:avLst>
            </a:prstGeom>
            <a:ln w="152400" cap="rnd">
              <a:solidFill>
                <a:srgbClr val="26AA83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5A49F88C-89DC-4048-A771-C2250610AAA0}"/>
                </a:ext>
              </a:extLst>
            </p:cNvPr>
            <p:cNvSpPr/>
            <p:nvPr/>
          </p:nvSpPr>
          <p:spPr>
            <a:xfrm>
              <a:off x="6520638" y="2527495"/>
              <a:ext cx="1025236" cy="1025236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B3F0CE12-6B2D-4CE7-8BE8-971E9D8B6228}"/>
                </a:ext>
              </a:extLst>
            </p:cNvPr>
            <p:cNvSpPr/>
            <p:nvPr/>
          </p:nvSpPr>
          <p:spPr>
            <a:xfrm>
              <a:off x="8961118" y="2252713"/>
              <a:ext cx="1574800" cy="1574800"/>
            </a:xfrm>
            <a:prstGeom prst="arc">
              <a:avLst>
                <a:gd name="adj1" fmla="val 5516007"/>
                <a:gd name="adj2" fmla="val 14758133"/>
              </a:avLst>
            </a:prstGeom>
            <a:ln w="152400" cap="rnd">
              <a:solidFill>
                <a:srgbClr val="EB523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Arc 41">
              <a:extLst>
                <a:ext uri="{FF2B5EF4-FFF2-40B4-BE49-F238E27FC236}">
                  <a16:creationId xmlns:a16="http://schemas.microsoft.com/office/drawing/2014/main" id="{31F4CA90-BF7A-4F23-BC17-71A268F51A97}"/>
                </a:ext>
              </a:extLst>
            </p:cNvPr>
            <p:cNvSpPr/>
            <p:nvPr/>
          </p:nvSpPr>
          <p:spPr>
            <a:xfrm flipH="1">
              <a:off x="8961118" y="2252712"/>
              <a:ext cx="1574800" cy="1574800"/>
            </a:xfrm>
            <a:prstGeom prst="arc">
              <a:avLst>
                <a:gd name="adj1" fmla="val 8446752"/>
                <a:gd name="adj2" fmla="val 17611820"/>
              </a:avLst>
            </a:prstGeom>
            <a:ln w="152400" cap="rnd">
              <a:solidFill>
                <a:srgbClr val="EB5232"/>
              </a:solidFill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A10999F-88C6-4832-9EB0-09A3F6E319B8}"/>
                </a:ext>
              </a:extLst>
            </p:cNvPr>
            <p:cNvSpPr/>
            <p:nvPr/>
          </p:nvSpPr>
          <p:spPr>
            <a:xfrm>
              <a:off x="9235900" y="2527495"/>
              <a:ext cx="1025236" cy="1025236"/>
            </a:xfrm>
            <a:prstGeom prst="ellipse">
              <a:avLst/>
            </a:prstGeom>
            <a:solidFill>
              <a:srgbClr val="222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5C83F521-29C4-4BDE-A3DF-1403B732E4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2544" y="2859138"/>
              <a:ext cx="354013" cy="361950"/>
            </a:xfrm>
            <a:custGeom>
              <a:avLst/>
              <a:gdLst>
                <a:gd name="T0" fmla="*/ 88 w 94"/>
                <a:gd name="T1" fmla="*/ 31 h 96"/>
                <a:gd name="T2" fmla="*/ 92 w 94"/>
                <a:gd name="T3" fmla="*/ 22 h 96"/>
                <a:gd name="T4" fmla="*/ 93 w 94"/>
                <a:gd name="T5" fmla="*/ 19 h 96"/>
                <a:gd name="T6" fmla="*/ 86 w 94"/>
                <a:gd name="T7" fmla="*/ 8 h 96"/>
                <a:gd name="T8" fmla="*/ 80 w 94"/>
                <a:gd name="T9" fmla="*/ 11 h 96"/>
                <a:gd name="T10" fmla="*/ 74 w 94"/>
                <a:gd name="T11" fmla="*/ 2 h 96"/>
                <a:gd name="T12" fmla="*/ 60 w 94"/>
                <a:gd name="T13" fmla="*/ 0 h 96"/>
                <a:gd name="T14" fmla="*/ 58 w 94"/>
                <a:gd name="T15" fmla="*/ 7 h 96"/>
                <a:gd name="T16" fmla="*/ 48 w 94"/>
                <a:gd name="T17" fmla="*/ 8 h 96"/>
                <a:gd name="T18" fmla="*/ 39 w 94"/>
                <a:gd name="T19" fmla="*/ 19 h 96"/>
                <a:gd name="T20" fmla="*/ 40 w 94"/>
                <a:gd name="T21" fmla="*/ 22 h 96"/>
                <a:gd name="T22" fmla="*/ 44 w 94"/>
                <a:gd name="T23" fmla="*/ 31 h 96"/>
                <a:gd name="T24" fmla="*/ 39 w 94"/>
                <a:gd name="T25" fmla="*/ 35 h 96"/>
                <a:gd name="T26" fmla="*/ 45 w 94"/>
                <a:gd name="T27" fmla="*/ 47 h 96"/>
                <a:gd name="T28" fmla="*/ 42 w 94"/>
                <a:gd name="T29" fmla="*/ 51 h 96"/>
                <a:gd name="T30" fmla="*/ 36 w 94"/>
                <a:gd name="T31" fmla="*/ 42 h 96"/>
                <a:gd name="T32" fmla="*/ 22 w 94"/>
                <a:gd name="T33" fmla="*/ 40 h 96"/>
                <a:gd name="T34" fmla="*/ 20 w 94"/>
                <a:gd name="T35" fmla="*/ 47 h 96"/>
                <a:gd name="T36" fmla="*/ 10 w 94"/>
                <a:gd name="T37" fmla="*/ 48 h 96"/>
                <a:gd name="T38" fmla="*/ 1 w 94"/>
                <a:gd name="T39" fmla="*/ 59 h 96"/>
                <a:gd name="T40" fmla="*/ 2 w 94"/>
                <a:gd name="T41" fmla="*/ 62 h 96"/>
                <a:gd name="T42" fmla="*/ 6 w 94"/>
                <a:gd name="T43" fmla="*/ 71 h 96"/>
                <a:gd name="T44" fmla="*/ 1 w 94"/>
                <a:gd name="T45" fmla="*/ 75 h 96"/>
                <a:gd name="T46" fmla="*/ 7 w 94"/>
                <a:gd name="T47" fmla="*/ 87 h 96"/>
                <a:gd name="T48" fmla="*/ 14 w 94"/>
                <a:gd name="T49" fmla="*/ 85 h 96"/>
                <a:gd name="T50" fmla="*/ 20 w 94"/>
                <a:gd name="T51" fmla="*/ 94 h 96"/>
                <a:gd name="T52" fmla="*/ 34 w 94"/>
                <a:gd name="T53" fmla="*/ 96 h 96"/>
                <a:gd name="T54" fmla="*/ 36 w 94"/>
                <a:gd name="T55" fmla="*/ 88 h 96"/>
                <a:gd name="T56" fmla="*/ 46 w 94"/>
                <a:gd name="T57" fmla="*/ 88 h 96"/>
                <a:gd name="T58" fmla="*/ 49 w 94"/>
                <a:gd name="T59" fmla="*/ 87 h 96"/>
                <a:gd name="T60" fmla="*/ 54 w 94"/>
                <a:gd name="T61" fmla="*/ 74 h 96"/>
                <a:gd name="T62" fmla="*/ 50 w 94"/>
                <a:gd name="T63" fmla="*/ 65 h 96"/>
                <a:gd name="T64" fmla="*/ 55 w 94"/>
                <a:gd name="T65" fmla="*/ 61 h 96"/>
                <a:gd name="T66" fmla="*/ 49 w 94"/>
                <a:gd name="T67" fmla="*/ 49 h 96"/>
                <a:gd name="T68" fmla="*/ 48 w 94"/>
                <a:gd name="T69" fmla="*/ 48 h 96"/>
                <a:gd name="T70" fmla="*/ 58 w 94"/>
                <a:gd name="T71" fmla="*/ 49 h 96"/>
                <a:gd name="T72" fmla="*/ 60 w 94"/>
                <a:gd name="T73" fmla="*/ 56 h 96"/>
                <a:gd name="T74" fmla="*/ 74 w 94"/>
                <a:gd name="T75" fmla="*/ 54 h 96"/>
                <a:gd name="T76" fmla="*/ 80 w 94"/>
                <a:gd name="T77" fmla="*/ 45 h 96"/>
                <a:gd name="T78" fmla="*/ 86 w 94"/>
                <a:gd name="T79" fmla="*/ 48 h 96"/>
                <a:gd name="T80" fmla="*/ 93 w 94"/>
                <a:gd name="T81" fmla="*/ 37 h 96"/>
                <a:gd name="T82" fmla="*/ 28 w 94"/>
                <a:gd name="T83" fmla="*/ 78 h 96"/>
                <a:gd name="T84" fmla="*/ 28 w 94"/>
                <a:gd name="T85" fmla="*/ 58 h 96"/>
                <a:gd name="T86" fmla="*/ 28 w 94"/>
                <a:gd name="T87" fmla="*/ 78 h 96"/>
                <a:gd name="T88" fmla="*/ 56 w 94"/>
                <a:gd name="T89" fmla="*/ 28 h 96"/>
                <a:gd name="T90" fmla="*/ 76 w 94"/>
                <a:gd name="T91" fmla="*/ 2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96">
                  <a:moveTo>
                    <a:pt x="92" y="34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29"/>
                    <a:pt x="88" y="27"/>
                    <a:pt x="88" y="2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3" y="22"/>
                    <a:pt x="93" y="21"/>
                    <a:pt x="93" y="21"/>
                  </a:cubicBezTo>
                  <a:cubicBezTo>
                    <a:pt x="94" y="20"/>
                    <a:pt x="93" y="20"/>
                    <a:pt x="93" y="1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8"/>
                    <a:pt x="87" y="8"/>
                    <a:pt x="86" y="8"/>
                  </a:cubicBezTo>
                  <a:cubicBezTo>
                    <a:pt x="85" y="8"/>
                    <a:pt x="85" y="8"/>
                    <a:pt x="84" y="8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8" y="10"/>
                    <a:pt x="77" y="9"/>
                    <a:pt x="74" y="8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1"/>
                    <a:pt x="74" y="0"/>
                    <a:pt x="7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9" y="0"/>
                    <a:pt x="58" y="1"/>
                    <a:pt x="58" y="2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6" y="8"/>
                    <a:pt x="54" y="9"/>
                    <a:pt x="52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5" y="8"/>
                    <a:pt x="45" y="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20"/>
                    <a:pt x="38" y="20"/>
                    <a:pt x="39" y="21"/>
                  </a:cubicBezTo>
                  <a:cubicBezTo>
                    <a:pt x="39" y="21"/>
                    <a:pt x="39" y="22"/>
                    <a:pt x="40" y="22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7"/>
                    <a:pt x="44" y="29"/>
                    <a:pt x="44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38" y="36"/>
                    <a:pt x="38" y="36"/>
                    <a:pt x="39" y="3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8"/>
                    <a:pt x="46" y="48"/>
                    <a:pt x="46" y="48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0" y="50"/>
                    <a:pt x="39" y="49"/>
                    <a:pt x="36" y="48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6" y="41"/>
                    <a:pt x="36" y="40"/>
                    <a:pt x="34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8" y="48"/>
                    <a:pt x="16" y="49"/>
                    <a:pt x="14" y="51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8"/>
                    <a:pt x="7" y="48"/>
                    <a:pt x="7" y="49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60"/>
                    <a:pt x="0" y="60"/>
                    <a:pt x="1" y="61"/>
                  </a:cubicBezTo>
                  <a:cubicBezTo>
                    <a:pt x="1" y="61"/>
                    <a:pt x="1" y="62"/>
                    <a:pt x="2" y="62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6" y="67"/>
                    <a:pt x="6" y="69"/>
                    <a:pt x="6" y="71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4"/>
                    <a:pt x="1" y="75"/>
                    <a:pt x="1" y="75"/>
                  </a:cubicBezTo>
                  <a:cubicBezTo>
                    <a:pt x="0" y="76"/>
                    <a:pt x="0" y="76"/>
                    <a:pt x="1" y="7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8" y="88"/>
                    <a:pt x="9" y="88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6" y="87"/>
                    <a:pt x="18" y="88"/>
                    <a:pt x="20" y="89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0" y="95"/>
                    <a:pt x="21" y="96"/>
                    <a:pt x="22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6" y="96"/>
                    <a:pt x="36" y="95"/>
                    <a:pt x="36" y="94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9" y="87"/>
                    <a:pt x="40" y="86"/>
                    <a:pt x="42" y="85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7" y="88"/>
                    <a:pt x="47" y="88"/>
                    <a:pt x="48" y="88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6" y="76"/>
                    <a:pt x="55" y="75"/>
                    <a:pt x="54" y="74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69"/>
                    <a:pt x="50" y="67"/>
                    <a:pt x="50" y="65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5" y="62"/>
                    <a:pt x="55" y="61"/>
                    <a:pt x="55" y="61"/>
                  </a:cubicBezTo>
                  <a:cubicBezTo>
                    <a:pt x="56" y="60"/>
                    <a:pt x="55" y="60"/>
                    <a:pt x="55" y="59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9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4" y="47"/>
                    <a:pt x="56" y="48"/>
                    <a:pt x="58" y="49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8" y="55"/>
                    <a:pt x="59" y="56"/>
                    <a:pt x="60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4" y="56"/>
                    <a:pt x="74" y="55"/>
                    <a:pt x="74" y="54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7" y="47"/>
                    <a:pt x="78" y="46"/>
                    <a:pt x="80" y="45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5" y="48"/>
                    <a:pt x="85" y="48"/>
                    <a:pt x="86" y="48"/>
                  </a:cubicBezTo>
                  <a:cubicBezTo>
                    <a:pt x="87" y="48"/>
                    <a:pt x="87" y="48"/>
                    <a:pt x="87" y="47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4" y="36"/>
                    <a:pt x="93" y="35"/>
                    <a:pt x="92" y="34"/>
                  </a:cubicBezTo>
                  <a:close/>
                  <a:moveTo>
                    <a:pt x="28" y="78"/>
                  </a:moveTo>
                  <a:cubicBezTo>
                    <a:pt x="22" y="78"/>
                    <a:pt x="18" y="74"/>
                    <a:pt x="18" y="68"/>
                  </a:cubicBezTo>
                  <a:cubicBezTo>
                    <a:pt x="18" y="62"/>
                    <a:pt x="22" y="58"/>
                    <a:pt x="28" y="58"/>
                  </a:cubicBezTo>
                  <a:cubicBezTo>
                    <a:pt x="33" y="58"/>
                    <a:pt x="38" y="62"/>
                    <a:pt x="38" y="68"/>
                  </a:cubicBezTo>
                  <a:cubicBezTo>
                    <a:pt x="38" y="74"/>
                    <a:pt x="33" y="78"/>
                    <a:pt x="28" y="78"/>
                  </a:cubicBezTo>
                  <a:close/>
                  <a:moveTo>
                    <a:pt x="66" y="38"/>
                  </a:moveTo>
                  <a:cubicBezTo>
                    <a:pt x="60" y="38"/>
                    <a:pt x="56" y="34"/>
                    <a:pt x="56" y="28"/>
                  </a:cubicBezTo>
                  <a:cubicBezTo>
                    <a:pt x="56" y="22"/>
                    <a:pt x="60" y="18"/>
                    <a:pt x="66" y="18"/>
                  </a:cubicBezTo>
                  <a:cubicBezTo>
                    <a:pt x="71" y="18"/>
                    <a:pt x="76" y="22"/>
                    <a:pt x="76" y="28"/>
                  </a:cubicBezTo>
                  <a:cubicBezTo>
                    <a:pt x="76" y="34"/>
                    <a:pt x="71" y="38"/>
                    <a:pt x="66" y="38"/>
                  </a:cubicBezTo>
                  <a:close/>
                </a:path>
              </a:pathLst>
            </a:custGeom>
            <a:solidFill>
              <a:srgbClr val="EB52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Freeform 104">
              <a:extLst>
                <a:ext uri="{FF2B5EF4-FFF2-40B4-BE49-F238E27FC236}">
                  <a16:creationId xmlns:a16="http://schemas.microsoft.com/office/drawing/2014/main" id="{C963F873-D2C6-45DB-AC62-DC3D4F914E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8336" y="2869517"/>
              <a:ext cx="360363" cy="361950"/>
            </a:xfrm>
            <a:custGeom>
              <a:avLst/>
              <a:gdLst>
                <a:gd name="T0" fmla="*/ 36 w 96"/>
                <a:gd name="T1" fmla="*/ 72 h 96"/>
                <a:gd name="T2" fmla="*/ 59 w 96"/>
                <a:gd name="T3" fmla="*/ 64 h 96"/>
                <a:gd name="T4" fmla="*/ 89 w 96"/>
                <a:gd name="T5" fmla="*/ 95 h 96"/>
                <a:gd name="T6" fmla="*/ 95 w 96"/>
                <a:gd name="T7" fmla="*/ 95 h 96"/>
                <a:gd name="T8" fmla="*/ 95 w 96"/>
                <a:gd name="T9" fmla="*/ 89 h 96"/>
                <a:gd name="T10" fmla="*/ 64 w 96"/>
                <a:gd name="T11" fmla="*/ 58 h 96"/>
                <a:gd name="T12" fmla="*/ 72 w 96"/>
                <a:gd name="T13" fmla="*/ 36 h 96"/>
                <a:gd name="T14" fmla="*/ 36 w 96"/>
                <a:gd name="T15" fmla="*/ 0 h 96"/>
                <a:gd name="T16" fmla="*/ 0 w 96"/>
                <a:gd name="T17" fmla="*/ 36 h 96"/>
                <a:gd name="T18" fmla="*/ 36 w 96"/>
                <a:gd name="T19" fmla="*/ 72 h 96"/>
                <a:gd name="T20" fmla="*/ 36 w 96"/>
                <a:gd name="T21" fmla="*/ 8 h 96"/>
                <a:gd name="T22" fmla="*/ 64 w 96"/>
                <a:gd name="T23" fmla="*/ 36 h 96"/>
                <a:gd name="T24" fmla="*/ 36 w 96"/>
                <a:gd name="T25" fmla="*/ 64 h 96"/>
                <a:gd name="T26" fmla="*/ 8 w 96"/>
                <a:gd name="T27" fmla="*/ 36 h 96"/>
                <a:gd name="T28" fmla="*/ 36 w 96"/>
                <a:gd name="T2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96">
                  <a:moveTo>
                    <a:pt x="36" y="72"/>
                  </a:moveTo>
                  <a:cubicBezTo>
                    <a:pt x="45" y="72"/>
                    <a:pt x="52" y="69"/>
                    <a:pt x="59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6"/>
                    <a:pt x="93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lose/>
                  <a:moveTo>
                    <a:pt x="36" y="8"/>
                  </a:move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lose/>
                </a:path>
              </a:pathLst>
            </a:custGeom>
            <a:solidFill>
              <a:srgbClr val="EB52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7E1E567A-EF3A-45D8-BFAF-90766D4DBD3F}"/>
                </a:ext>
              </a:extLst>
            </p:cNvPr>
            <p:cNvGrpSpPr/>
            <p:nvPr/>
          </p:nvGrpSpPr>
          <p:grpSpPr>
            <a:xfrm>
              <a:off x="6828476" y="2836180"/>
              <a:ext cx="2875593" cy="361950"/>
              <a:chOff x="-76830" y="3948967"/>
              <a:chExt cx="2875593" cy="361950"/>
            </a:xfrm>
            <a:solidFill>
              <a:srgbClr val="26AA83"/>
            </a:solidFill>
          </p:grpSpPr>
          <p:sp>
            <p:nvSpPr>
              <p:cNvPr id="208" name="Freeform 60">
                <a:extLst>
                  <a:ext uri="{FF2B5EF4-FFF2-40B4-BE49-F238E27FC236}">
                    <a16:creationId xmlns:a16="http://schemas.microsoft.com/office/drawing/2014/main" id="{1AB8A77C-54BA-4427-8306-ED3ABA7FC6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76830" y="3948967"/>
                <a:ext cx="314325" cy="361950"/>
              </a:xfrm>
              <a:custGeom>
                <a:avLst/>
                <a:gdLst>
                  <a:gd name="T0" fmla="*/ 77 w 84"/>
                  <a:gd name="T1" fmla="*/ 20 h 96"/>
                  <a:gd name="T2" fmla="*/ 80 w 84"/>
                  <a:gd name="T3" fmla="*/ 22 h 96"/>
                  <a:gd name="T4" fmla="*/ 81 w 84"/>
                  <a:gd name="T5" fmla="*/ 19 h 96"/>
                  <a:gd name="T6" fmla="*/ 73 w 84"/>
                  <a:gd name="T7" fmla="*/ 13 h 96"/>
                  <a:gd name="T8" fmla="*/ 74 w 84"/>
                  <a:gd name="T9" fmla="*/ 17 h 96"/>
                  <a:gd name="T10" fmla="*/ 44 w 84"/>
                  <a:gd name="T11" fmla="*/ 12 h 96"/>
                  <a:gd name="T12" fmla="*/ 46 w 84"/>
                  <a:gd name="T13" fmla="*/ 4 h 96"/>
                  <a:gd name="T14" fmla="*/ 46 w 84"/>
                  <a:gd name="T15" fmla="*/ 0 h 96"/>
                  <a:gd name="T16" fmla="*/ 36 w 84"/>
                  <a:gd name="T17" fmla="*/ 2 h 96"/>
                  <a:gd name="T18" fmla="*/ 40 w 84"/>
                  <a:gd name="T19" fmla="*/ 4 h 96"/>
                  <a:gd name="T20" fmla="*/ 40 w 84"/>
                  <a:gd name="T21" fmla="*/ 52 h 96"/>
                  <a:gd name="T22" fmla="*/ 0 w 84"/>
                  <a:gd name="T23" fmla="*/ 54 h 96"/>
                  <a:gd name="T24" fmla="*/ 84 w 84"/>
                  <a:gd name="T25" fmla="*/ 54 h 96"/>
                  <a:gd name="T26" fmla="*/ 29 w 84"/>
                  <a:gd name="T27" fmla="*/ 69 h 96"/>
                  <a:gd name="T28" fmla="*/ 22 w 84"/>
                  <a:gd name="T29" fmla="*/ 76 h 96"/>
                  <a:gd name="T30" fmla="*/ 21 w 84"/>
                  <a:gd name="T31" fmla="*/ 73 h 96"/>
                  <a:gd name="T32" fmla="*/ 29 w 84"/>
                  <a:gd name="T33" fmla="*/ 67 h 96"/>
                  <a:gd name="T34" fmla="*/ 44 w 84"/>
                  <a:gd name="T35" fmla="*/ 82 h 96"/>
                  <a:gd name="T36" fmla="*/ 40 w 84"/>
                  <a:gd name="T37" fmla="*/ 82 h 96"/>
                  <a:gd name="T38" fmla="*/ 42 w 84"/>
                  <a:gd name="T39" fmla="*/ 72 h 96"/>
                  <a:gd name="T40" fmla="*/ 44 w 84"/>
                  <a:gd name="T41" fmla="*/ 82 h 96"/>
                  <a:gd name="T42" fmla="*/ 61 w 84"/>
                  <a:gd name="T43" fmla="*/ 33 h 96"/>
                  <a:gd name="T44" fmla="*/ 63 w 84"/>
                  <a:gd name="T45" fmla="*/ 35 h 96"/>
                  <a:gd name="T46" fmla="*/ 56 w 84"/>
                  <a:gd name="T47" fmla="*/ 42 h 96"/>
                  <a:gd name="T48" fmla="*/ 55 w 84"/>
                  <a:gd name="T49" fmla="*/ 39 h 96"/>
                  <a:gd name="T50" fmla="*/ 62 w 84"/>
                  <a:gd name="T51" fmla="*/ 76 h 96"/>
                  <a:gd name="T52" fmla="*/ 55 w 84"/>
                  <a:gd name="T53" fmla="*/ 69 h 96"/>
                  <a:gd name="T54" fmla="*/ 57 w 84"/>
                  <a:gd name="T55" fmla="*/ 67 h 96"/>
                  <a:gd name="T56" fmla="*/ 63 w 84"/>
                  <a:gd name="T57" fmla="*/ 75 h 96"/>
                  <a:gd name="T58" fmla="*/ 62 w 84"/>
                  <a:gd name="T59" fmla="*/ 56 h 96"/>
                  <a:gd name="T60" fmla="*/ 62 w 84"/>
                  <a:gd name="T61" fmla="*/ 52 h 96"/>
                  <a:gd name="T62" fmla="*/ 72 w 84"/>
                  <a:gd name="T63" fmla="*/ 5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4" h="96">
                    <a:moveTo>
                      <a:pt x="72" y="25"/>
                    </a:moveTo>
                    <a:cubicBezTo>
                      <a:pt x="77" y="20"/>
                      <a:pt x="77" y="20"/>
                      <a:pt x="77" y="20"/>
                    </a:cubicBezTo>
                    <a:cubicBezTo>
                      <a:pt x="79" y="21"/>
                      <a:pt x="79" y="21"/>
                      <a:pt x="79" y="21"/>
                    </a:cubicBezTo>
                    <a:cubicBezTo>
                      <a:pt x="79" y="22"/>
                      <a:pt x="79" y="22"/>
                      <a:pt x="80" y="22"/>
                    </a:cubicBezTo>
                    <a:cubicBezTo>
                      <a:pt x="81" y="22"/>
                      <a:pt x="81" y="22"/>
                      <a:pt x="81" y="21"/>
                    </a:cubicBezTo>
                    <a:cubicBezTo>
                      <a:pt x="82" y="21"/>
                      <a:pt x="82" y="19"/>
                      <a:pt x="81" y="19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75" y="12"/>
                      <a:pt x="73" y="12"/>
                      <a:pt x="73" y="13"/>
                    </a:cubicBezTo>
                    <a:cubicBezTo>
                      <a:pt x="72" y="13"/>
                      <a:pt x="72" y="15"/>
                      <a:pt x="73" y="15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62" y="16"/>
                      <a:pt x="54" y="13"/>
                      <a:pt x="44" y="12"/>
                    </a:cubicBezTo>
                    <a:cubicBezTo>
                      <a:pt x="44" y="4"/>
                      <a:pt x="44" y="4"/>
                      <a:pt x="44" y="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7" y="4"/>
                      <a:pt x="48" y="3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1"/>
                      <a:pt x="36" y="2"/>
                    </a:cubicBezTo>
                    <a:cubicBezTo>
                      <a:pt x="36" y="3"/>
                      <a:pt x="37" y="4"/>
                      <a:pt x="38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52"/>
                      <a:pt x="40" y="52"/>
                      <a:pt x="40" y="52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1" y="52"/>
                      <a:pt x="0" y="53"/>
                      <a:pt x="0" y="54"/>
                    </a:cubicBezTo>
                    <a:cubicBezTo>
                      <a:pt x="0" y="77"/>
                      <a:pt x="19" y="96"/>
                      <a:pt x="42" y="96"/>
                    </a:cubicBezTo>
                    <a:cubicBezTo>
                      <a:pt x="65" y="96"/>
                      <a:pt x="84" y="77"/>
                      <a:pt x="84" y="54"/>
                    </a:cubicBezTo>
                    <a:cubicBezTo>
                      <a:pt x="84" y="43"/>
                      <a:pt x="79" y="32"/>
                      <a:pt x="72" y="25"/>
                    </a:cubicBezTo>
                    <a:close/>
                    <a:moveTo>
                      <a:pt x="29" y="69"/>
                    </a:moveTo>
                    <a:cubicBezTo>
                      <a:pt x="23" y="75"/>
                      <a:pt x="23" y="75"/>
                      <a:pt x="23" y="75"/>
                    </a:cubicBezTo>
                    <a:cubicBezTo>
                      <a:pt x="23" y="76"/>
                      <a:pt x="23" y="76"/>
                      <a:pt x="22" y="76"/>
                    </a:cubicBezTo>
                    <a:cubicBezTo>
                      <a:pt x="21" y="76"/>
                      <a:pt x="21" y="76"/>
                      <a:pt x="21" y="75"/>
                    </a:cubicBezTo>
                    <a:cubicBezTo>
                      <a:pt x="20" y="75"/>
                      <a:pt x="20" y="73"/>
                      <a:pt x="21" y="73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7" y="66"/>
                      <a:pt x="29" y="66"/>
                      <a:pt x="29" y="67"/>
                    </a:cubicBezTo>
                    <a:cubicBezTo>
                      <a:pt x="30" y="67"/>
                      <a:pt x="30" y="69"/>
                      <a:pt x="29" y="69"/>
                    </a:cubicBezTo>
                    <a:close/>
                    <a:moveTo>
                      <a:pt x="44" y="82"/>
                    </a:moveTo>
                    <a:cubicBezTo>
                      <a:pt x="44" y="83"/>
                      <a:pt x="43" y="84"/>
                      <a:pt x="42" y="84"/>
                    </a:cubicBezTo>
                    <a:cubicBezTo>
                      <a:pt x="41" y="84"/>
                      <a:pt x="40" y="83"/>
                      <a:pt x="40" y="82"/>
                    </a:cubicBezTo>
                    <a:cubicBezTo>
                      <a:pt x="40" y="74"/>
                      <a:pt x="40" y="74"/>
                      <a:pt x="40" y="74"/>
                    </a:cubicBezTo>
                    <a:cubicBezTo>
                      <a:pt x="40" y="73"/>
                      <a:pt x="41" y="72"/>
                      <a:pt x="42" y="72"/>
                    </a:cubicBezTo>
                    <a:cubicBezTo>
                      <a:pt x="43" y="72"/>
                      <a:pt x="44" y="73"/>
                      <a:pt x="44" y="74"/>
                    </a:cubicBezTo>
                    <a:lnTo>
                      <a:pt x="44" y="82"/>
                    </a:lnTo>
                    <a:close/>
                    <a:moveTo>
                      <a:pt x="55" y="39"/>
                    </a:move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2"/>
                      <a:pt x="63" y="32"/>
                      <a:pt x="63" y="33"/>
                    </a:cubicBezTo>
                    <a:cubicBezTo>
                      <a:pt x="64" y="33"/>
                      <a:pt x="64" y="35"/>
                      <a:pt x="63" y="35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2"/>
                      <a:pt x="57" y="42"/>
                      <a:pt x="56" y="42"/>
                    </a:cubicBezTo>
                    <a:cubicBezTo>
                      <a:pt x="55" y="42"/>
                      <a:pt x="55" y="42"/>
                      <a:pt x="55" y="41"/>
                    </a:cubicBezTo>
                    <a:cubicBezTo>
                      <a:pt x="54" y="41"/>
                      <a:pt x="54" y="39"/>
                      <a:pt x="55" y="39"/>
                    </a:cubicBezTo>
                    <a:close/>
                    <a:moveTo>
                      <a:pt x="63" y="75"/>
                    </a:moveTo>
                    <a:cubicBezTo>
                      <a:pt x="63" y="76"/>
                      <a:pt x="63" y="76"/>
                      <a:pt x="62" y="76"/>
                    </a:cubicBezTo>
                    <a:cubicBezTo>
                      <a:pt x="61" y="76"/>
                      <a:pt x="61" y="76"/>
                      <a:pt x="61" y="75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54" y="69"/>
                      <a:pt x="54" y="67"/>
                      <a:pt x="55" y="67"/>
                    </a:cubicBezTo>
                    <a:cubicBezTo>
                      <a:pt x="55" y="66"/>
                      <a:pt x="57" y="66"/>
                      <a:pt x="57" y="67"/>
                    </a:cubicBezTo>
                    <a:cubicBezTo>
                      <a:pt x="63" y="73"/>
                      <a:pt x="63" y="73"/>
                      <a:pt x="63" y="73"/>
                    </a:cubicBezTo>
                    <a:cubicBezTo>
                      <a:pt x="64" y="73"/>
                      <a:pt x="64" y="75"/>
                      <a:pt x="63" y="75"/>
                    </a:cubicBezTo>
                    <a:close/>
                    <a:moveTo>
                      <a:pt x="70" y="56"/>
                    </a:moveTo>
                    <a:cubicBezTo>
                      <a:pt x="62" y="56"/>
                      <a:pt x="62" y="56"/>
                      <a:pt x="62" y="56"/>
                    </a:cubicBezTo>
                    <a:cubicBezTo>
                      <a:pt x="61" y="56"/>
                      <a:pt x="60" y="55"/>
                      <a:pt x="60" y="54"/>
                    </a:cubicBezTo>
                    <a:cubicBezTo>
                      <a:pt x="60" y="53"/>
                      <a:pt x="61" y="52"/>
                      <a:pt x="62" y="52"/>
                    </a:cubicBezTo>
                    <a:cubicBezTo>
                      <a:pt x="70" y="52"/>
                      <a:pt x="70" y="52"/>
                      <a:pt x="70" y="52"/>
                    </a:cubicBezTo>
                    <a:cubicBezTo>
                      <a:pt x="71" y="52"/>
                      <a:pt x="72" y="53"/>
                      <a:pt x="72" y="54"/>
                    </a:cubicBezTo>
                    <a:cubicBezTo>
                      <a:pt x="72" y="55"/>
                      <a:pt x="71" y="56"/>
                      <a:pt x="70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Freeform 61">
                <a:extLst>
                  <a:ext uri="{FF2B5EF4-FFF2-40B4-BE49-F238E27FC236}">
                    <a16:creationId xmlns:a16="http://schemas.microsoft.com/office/drawing/2014/main" id="{71A473E9-7301-4D0D-AA86-1E94F66FF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663" y="4092575"/>
                <a:ext cx="38100" cy="38100"/>
              </a:xfrm>
              <a:custGeom>
                <a:avLst/>
                <a:gdLst>
                  <a:gd name="T0" fmla="*/ 7 w 10"/>
                  <a:gd name="T1" fmla="*/ 9 h 10"/>
                  <a:gd name="T2" fmla="*/ 8 w 10"/>
                  <a:gd name="T3" fmla="*/ 10 h 10"/>
                  <a:gd name="T4" fmla="*/ 9 w 10"/>
                  <a:gd name="T5" fmla="*/ 9 h 10"/>
                  <a:gd name="T6" fmla="*/ 9 w 10"/>
                  <a:gd name="T7" fmla="*/ 7 h 10"/>
                  <a:gd name="T8" fmla="*/ 3 w 10"/>
                  <a:gd name="T9" fmla="*/ 1 h 10"/>
                  <a:gd name="T10" fmla="*/ 1 w 10"/>
                  <a:gd name="T11" fmla="*/ 1 h 10"/>
                  <a:gd name="T12" fmla="*/ 1 w 10"/>
                  <a:gd name="T13" fmla="*/ 3 h 10"/>
                  <a:gd name="T14" fmla="*/ 7 w 10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0">
                    <a:moveTo>
                      <a:pt x="7" y="9"/>
                    </a:moveTo>
                    <a:cubicBezTo>
                      <a:pt x="7" y="10"/>
                      <a:pt x="7" y="10"/>
                      <a:pt x="8" y="10"/>
                    </a:cubicBezTo>
                    <a:cubicBezTo>
                      <a:pt x="9" y="10"/>
                      <a:pt x="9" y="10"/>
                      <a:pt x="9" y="9"/>
                    </a:cubicBezTo>
                    <a:cubicBezTo>
                      <a:pt x="10" y="9"/>
                      <a:pt x="10" y="7"/>
                      <a:pt x="9" y="7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1" y="0"/>
                      <a:pt x="1" y="1"/>
                    </a:cubicBezTo>
                    <a:cubicBezTo>
                      <a:pt x="0" y="1"/>
                      <a:pt x="0" y="3"/>
                      <a:pt x="1" y="3"/>
                    </a:cubicBez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014E9578-AA34-4C3F-AEB7-35F5F4E16453}"/>
                </a:ext>
              </a:extLst>
            </p:cNvPr>
            <p:cNvCxnSpPr>
              <a:cxnSpLocks/>
            </p:cNvCxnSpPr>
            <p:nvPr/>
          </p:nvCxnSpPr>
          <p:spPr>
            <a:xfrm>
              <a:off x="-1058707" y="3827513"/>
              <a:ext cx="2715264" cy="0"/>
            </a:xfrm>
            <a:prstGeom prst="line">
              <a:avLst/>
            </a:prstGeom>
            <a:ln w="152400" cap="rnd">
              <a:solidFill>
                <a:srgbClr val="26AA8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BA4636E-1A2A-40C5-A44F-A2D417199BEB}"/>
              </a:ext>
            </a:extLst>
          </p:cNvPr>
          <p:cNvSpPr txBox="1"/>
          <p:nvPr/>
        </p:nvSpPr>
        <p:spPr>
          <a:xfrm>
            <a:off x="686685" y="1246952"/>
            <a:ext cx="1717301" cy="461665"/>
          </a:xfrm>
          <a:prstGeom prst="rect">
            <a:avLst/>
          </a:prstGeom>
          <a:solidFill>
            <a:srgbClr val="F4D9D7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sz="2400" dirty="0" err="1"/>
              <a:t>Tahapan</a:t>
            </a:r>
            <a:r>
              <a:rPr lang="en-US" sz="2400" dirty="0"/>
              <a:t> …</a:t>
            </a:r>
            <a:endParaRPr lang="en-ID" sz="2400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30C5D28-0732-4627-8B2A-6EA213B37ED8}"/>
              </a:ext>
            </a:extLst>
          </p:cNvPr>
          <p:cNvGrpSpPr/>
          <p:nvPr/>
        </p:nvGrpSpPr>
        <p:grpSpPr>
          <a:xfrm>
            <a:off x="4656345" y="3295172"/>
            <a:ext cx="285750" cy="287337"/>
            <a:chOff x="2025650" y="2516188"/>
            <a:chExt cx="285750" cy="287337"/>
          </a:xfrm>
          <a:solidFill>
            <a:srgbClr val="26AA83"/>
          </a:solidFill>
        </p:grpSpPr>
        <p:sp>
          <p:nvSpPr>
            <p:cNvPr id="51" name="Freeform 1153">
              <a:extLst>
                <a:ext uri="{FF2B5EF4-FFF2-40B4-BE49-F238E27FC236}">
                  <a16:creationId xmlns:a16="http://schemas.microsoft.com/office/drawing/2014/main" id="{62D06A89-1861-47FE-8A2C-C9EE5CD84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575" y="2554288"/>
              <a:ext cx="38100" cy="107950"/>
            </a:xfrm>
            <a:custGeom>
              <a:avLst/>
              <a:gdLst>
                <a:gd name="T0" fmla="*/ 24 w 95"/>
                <a:gd name="T1" fmla="*/ 271 h 271"/>
                <a:gd name="T2" fmla="*/ 40 w 95"/>
                <a:gd name="T3" fmla="*/ 262 h 271"/>
                <a:gd name="T4" fmla="*/ 58 w 95"/>
                <a:gd name="T5" fmla="*/ 255 h 271"/>
                <a:gd name="T6" fmla="*/ 77 w 95"/>
                <a:gd name="T7" fmla="*/ 249 h 271"/>
                <a:gd name="T8" fmla="*/ 95 w 95"/>
                <a:gd name="T9" fmla="*/ 244 h 271"/>
                <a:gd name="T10" fmla="*/ 95 w 95"/>
                <a:gd name="T11" fmla="*/ 11 h 271"/>
                <a:gd name="T12" fmla="*/ 95 w 95"/>
                <a:gd name="T13" fmla="*/ 7 h 271"/>
                <a:gd name="T14" fmla="*/ 92 w 95"/>
                <a:gd name="T15" fmla="*/ 3 h 271"/>
                <a:gd name="T16" fmla="*/ 88 w 95"/>
                <a:gd name="T17" fmla="*/ 1 h 271"/>
                <a:gd name="T18" fmla="*/ 84 w 95"/>
                <a:gd name="T19" fmla="*/ 0 h 271"/>
                <a:gd name="T20" fmla="*/ 0 w 95"/>
                <a:gd name="T21" fmla="*/ 0 h 271"/>
                <a:gd name="T22" fmla="*/ 0 w 95"/>
                <a:gd name="T23" fmla="*/ 71 h 271"/>
                <a:gd name="T24" fmla="*/ 24 w 95"/>
                <a:gd name="T25" fmla="*/ 71 h 271"/>
                <a:gd name="T26" fmla="*/ 24 w 95"/>
                <a:gd name="T27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271">
                  <a:moveTo>
                    <a:pt x="24" y="271"/>
                  </a:moveTo>
                  <a:lnTo>
                    <a:pt x="40" y="262"/>
                  </a:lnTo>
                  <a:lnTo>
                    <a:pt x="58" y="255"/>
                  </a:lnTo>
                  <a:lnTo>
                    <a:pt x="77" y="249"/>
                  </a:lnTo>
                  <a:lnTo>
                    <a:pt x="95" y="244"/>
                  </a:lnTo>
                  <a:lnTo>
                    <a:pt x="95" y="11"/>
                  </a:lnTo>
                  <a:lnTo>
                    <a:pt x="95" y="7"/>
                  </a:lnTo>
                  <a:lnTo>
                    <a:pt x="92" y="3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24" y="71"/>
                  </a:lnTo>
                  <a:lnTo>
                    <a:pt x="24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154">
              <a:extLst>
                <a:ext uri="{FF2B5EF4-FFF2-40B4-BE49-F238E27FC236}">
                  <a16:creationId xmlns:a16="http://schemas.microsoft.com/office/drawing/2014/main" id="{18870BEA-8C55-4BE1-917F-3D08F54EE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650" y="2554288"/>
              <a:ext cx="146050" cy="220663"/>
            </a:xfrm>
            <a:custGeom>
              <a:avLst/>
              <a:gdLst>
                <a:gd name="T0" fmla="*/ 72 w 369"/>
                <a:gd name="T1" fmla="*/ 481 h 554"/>
                <a:gd name="T2" fmla="*/ 72 w 369"/>
                <a:gd name="T3" fmla="*/ 71 h 554"/>
                <a:gd name="T4" fmla="*/ 97 w 369"/>
                <a:gd name="T5" fmla="*/ 71 h 554"/>
                <a:gd name="T6" fmla="*/ 97 w 369"/>
                <a:gd name="T7" fmla="*/ 0 h 554"/>
                <a:gd name="T8" fmla="*/ 12 w 369"/>
                <a:gd name="T9" fmla="*/ 0 h 554"/>
                <a:gd name="T10" fmla="*/ 8 w 369"/>
                <a:gd name="T11" fmla="*/ 1 h 554"/>
                <a:gd name="T12" fmla="*/ 4 w 369"/>
                <a:gd name="T13" fmla="*/ 3 h 554"/>
                <a:gd name="T14" fmla="*/ 1 w 369"/>
                <a:gd name="T15" fmla="*/ 7 h 554"/>
                <a:gd name="T16" fmla="*/ 0 w 369"/>
                <a:gd name="T17" fmla="*/ 11 h 554"/>
                <a:gd name="T18" fmla="*/ 0 w 369"/>
                <a:gd name="T19" fmla="*/ 494 h 554"/>
                <a:gd name="T20" fmla="*/ 1 w 369"/>
                <a:gd name="T21" fmla="*/ 501 h 554"/>
                <a:gd name="T22" fmla="*/ 1 w 369"/>
                <a:gd name="T23" fmla="*/ 508 h 554"/>
                <a:gd name="T24" fmla="*/ 3 w 369"/>
                <a:gd name="T25" fmla="*/ 514 h 554"/>
                <a:gd name="T26" fmla="*/ 4 w 369"/>
                <a:gd name="T27" fmla="*/ 520 h 554"/>
                <a:gd name="T28" fmla="*/ 6 w 369"/>
                <a:gd name="T29" fmla="*/ 525 h 554"/>
                <a:gd name="T30" fmla="*/ 9 w 369"/>
                <a:gd name="T31" fmla="*/ 530 h 554"/>
                <a:gd name="T32" fmla="*/ 12 w 369"/>
                <a:gd name="T33" fmla="*/ 534 h 554"/>
                <a:gd name="T34" fmla="*/ 15 w 369"/>
                <a:gd name="T35" fmla="*/ 538 h 554"/>
                <a:gd name="T36" fmla="*/ 19 w 369"/>
                <a:gd name="T37" fmla="*/ 542 h 554"/>
                <a:gd name="T38" fmla="*/ 24 w 369"/>
                <a:gd name="T39" fmla="*/ 546 h 554"/>
                <a:gd name="T40" fmla="*/ 28 w 369"/>
                <a:gd name="T41" fmla="*/ 548 h 554"/>
                <a:gd name="T42" fmla="*/ 34 w 369"/>
                <a:gd name="T43" fmla="*/ 550 h 554"/>
                <a:gd name="T44" fmla="*/ 40 w 369"/>
                <a:gd name="T45" fmla="*/ 552 h 554"/>
                <a:gd name="T46" fmla="*/ 47 w 369"/>
                <a:gd name="T47" fmla="*/ 553 h 554"/>
                <a:gd name="T48" fmla="*/ 53 w 369"/>
                <a:gd name="T49" fmla="*/ 554 h 554"/>
                <a:gd name="T50" fmla="*/ 61 w 369"/>
                <a:gd name="T51" fmla="*/ 554 h 554"/>
                <a:gd name="T52" fmla="*/ 369 w 369"/>
                <a:gd name="T53" fmla="*/ 554 h 554"/>
                <a:gd name="T54" fmla="*/ 360 w 369"/>
                <a:gd name="T55" fmla="*/ 536 h 554"/>
                <a:gd name="T56" fmla="*/ 351 w 369"/>
                <a:gd name="T57" fmla="*/ 519 h 554"/>
                <a:gd name="T58" fmla="*/ 345 w 369"/>
                <a:gd name="T59" fmla="*/ 501 h 554"/>
                <a:gd name="T60" fmla="*/ 340 w 369"/>
                <a:gd name="T61" fmla="*/ 481 h 554"/>
                <a:gd name="T62" fmla="*/ 72 w 369"/>
                <a:gd name="T63" fmla="*/ 481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9" h="554">
                  <a:moveTo>
                    <a:pt x="72" y="481"/>
                  </a:moveTo>
                  <a:lnTo>
                    <a:pt x="72" y="71"/>
                  </a:lnTo>
                  <a:lnTo>
                    <a:pt x="97" y="71"/>
                  </a:lnTo>
                  <a:lnTo>
                    <a:pt x="9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494"/>
                  </a:lnTo>
                  <a:lnTo>
                    <a:pt x="1" y="501"/>
                  </a:lnTo>
                  <a:lnTo>
                    <a:pt x="1" y="508"/>
                  </a:lnTo>
                  <a:lnTo>
                    <a:pt x="3" y="514"/>
                  </a:lnTo>
                  <a:lnTo>
                    <a:pt x="4" y="520"/>
                  </a:lnTo>
                  <a:lnTo>
                    <a:pt x="6" y="525"/>
                  </a:lnTo>
                  <a:lnTo>
                    <a:pt x="9" y="530"/>
                  </a:lnTo>
                  <a:lnTo>
                    <a:pt x="12" y="534"/>
                  </a:lnTo>
                  <a:lnTo>
                    <a:pt x="15" y="538"/>
                  </a:lnTo>
                  <a:lnTo>
                    <a:pt x="19" y="542"/>
                  </a:lnTo>
                  <a:lnTo>
                    <a:pt x="24" y="546"/>
                  </a:lnTo>
                  <a:lnTo>
                    <a:pt x="28" y="548"/>
                  </a:lnTo>
                  <a:lnTo>
                    <a:pt x="34" y="550"/>
                  </a:lnTo>
                  <a:lnTo>
                    <a:pt x="40" y="552"/>
                  </a:lnTo>
                  <a:lnTo>
                    <a:pt x="47" y="553"/>
                  </a:lnTo>
                  <a:lnTo>
                    <a:pt x="53" y="554"/>
                  </a:lnTo>
                  <a:lnTo>
                    <a:pt x="61" y="554"/>
                  </a:lnTo>
                  <a:lnTo>
                    <a:pt x="369" y="554"/>
                  </a:lnTo>
                  <a:lnTo>
                    <a:pt x="360" y="536"/>
                  </a:lnTo>
                  <a:lnTo>
                    <a:pt x="351" y="519"/>
                  </a:lnTo>
                  <a:lnTo>
                    <a:pt x="345" y="501"/>
                  </a:lnTo>
                  <a:lnTo>
                    <a:pt x="340" y="481"/>
                  </a:lnTo>
                  <a:lnTo>
                    <a:pt x="72" y="4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155">
              <a:extLst>
                <a:ext uri="{FF2B5EF4-FFF2-40B4-BE49-F238E27FC236}">
                  <a16:creationId xmlns:a16="http://schemas.microsoft.com/office/drawing/2014/main" id="{DF150BD2-BEDC-409D-A0D3-2F95F356C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22550"/>
              <a:ext cx="69850" cy="9525"/>
            </a:xfrm>
            <a:custGeom>
              <a:avLst/>
              <a:gdLst>
                <a:gd name="T0" fmla="*/ 164 w 176"/>
                <a:gd name="T1" fmla="*/ 0 h 25"/>
                <a:gd name="T2" fmla="*/ 12 w 176"/>
                <a:gd name="T3" fmla="*/ 0 h 25"/>
                <a:gd name="T4" fmla="*/ 8 w 176"/>
                <a:gd name="T5" fmla="*/ 1 h 25"/>
                <a:gd name="T6" fmla="*/ 4 w 176"/>
                <a:gd name="T7" fmla="*/ 4 h 25"/>
                <a:gd name="T8" fmla="*/ 1 w 176"/>
                <a:gd name="T9" fmla="*/ 7 h 25"/>
                <a:gd name="T10" fmla="*/ 0 w 176"/>
                <a:gd name="T11" fmla="*/ 12 h 25"/>
                <a:gd name="T12" fmla="*/ 1 w 176"/>
                <a:gd name="T13" fmla="*/ 18 h 25"/>
                <a:gd name="T14" fmla="*/ 4 w 176"/>
                <a:gd name="T15" fmla="*/ 21 h 25"/>
                <a:gd name="T16" fmla="*/ 8 w 176"/>
                <a:gd name="T17" fmla="*/ 24 h 25"/>
                <a:gd name="T18" fmla="*/ 12 w 176"/>
                <a:gd name="T19" fmla="*/ 25 h 25"/>
                <a:gd name="T20" fmla="*/ 164 w 176"/>
                <a:gd name="T21" fmla="*/ 25 h 25"/>
                <a:gd name="T22" fmla="*/ 169 w 176"/>
                <a:gd name="T23" fmla="*/ 24 h 25"/>
                <a:gd name="T24" fmla="*/ 172 w 176"/>
                <a:gd name="T25" fmla="*/ 21 h 25"/>
                <a:gd name="T26" fmla="*/ 175 w 176"/>
                <a:gd name="T27" fmla="*/ 18 h 25"/>
                <a:gd name="T28" fmla="*/ 176 w 176"/>
                <a:gd name="T29" fmla="*/ 12 h 25"/>
                <a:gd name="T30" fmla="*/ 175 w 176"/>
                <a:gd name="T31" fmla="*/ 7 h 25"/>
                <a:gd name="T32" fmla="*/ 172 w 176"/>
                <a:gd name="T33" fmla="*/ 4 h 25"/>
                <a:gd name="T34" fmla="*/ 169 w 176"/>
                <a:gd name="T35" fmla="*/ 1 h 25"/>
                <a:gd name="T36" fmla="*/ 164 w 176"/>
                <a:gd name="T3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5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64" y="25"/>
                  </a:lnTo>
                  <a:lnTo>
                    <a:pt x="169" y="24"/>
                  </a:lnTo>
                  <a:lnTo>
                    <a:pt x="172" y="21"/>
                  </a:lnTo>
                  <a:lnTo>
                    <a:pt x="175" y="18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4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156">
              <a:extLst>
                <a:ext uri="{FF2B5EF4-FFF2-40B4-BE49-F238E27FC236}">
                  <a16:creationId xmlns:a16="http://schemas.microsoft.com/office/drawing/2014/main" id="{FCA83D21-1016-48A8-A8A3-C88290DA1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51125"/>
              <a:ext cx="69850" cy="9525"/>
            </a:xfrm>
            <a:custGeom>
              <a:avLst/>
              <a:gdLst>
                <a:gd name="T0" fmla="*/ 164 w 176"/>
                <a:gd name="T1" fmla="*/ 0 h 23"/>
                <a:gd name="T2" fmla="*/ 12 w 176"/>
                <a:gd name="T3" fmla="*/ 0 h 23"/>
                <a:gd name="T4" fmla="*/ 8 w 176"/>
                <a:gd name="T5" fmla="*/ 1 h 23"/>
                <a:gd name="T6" fmla="*/ 4 w 176"/>
                <a:gd name="T7" fmla="*/ 3 h 23"/>
                <a:gd name="T8" fmla="*/ 1 w 176"/>
                <a:gd name="T9" fmla="*/ 7 h 23"/>
                <a:gd name="T10" fmla="*/ 0 w 176"/>
                <a:gd name="T11" fmla="*/ 12 h 23"/>
                <a:gd name="T12" fmla="*/ 1 w 176"/>
                <a:gd name="T13" fmla="*/ 16 h 23"/>
                <a:gd name="T14" fmla="*/ 4 w 176"/>
                <a:gd name="T15" fmla="*/ 20 h 23"/>
                <a:gd name="T16" fmla="*/ 8 w 176"/>
                <a:gd name="T17" fmla="*/ 23 h 23"/>
                <a:gd name="T18" fmla="*/ 12 w 176"/>
                <a:gd name="T19" fmla="*/ 23 h 23"/>
                <a:gd name="T20" fmla="*/ 164 w 176"/>
                <a:gd name="T21" fmla="*/ 23 h 23"/>
                <a:gd name="T22" fmla="*/ 169 w 176"/>
                <a:gd name="T23" fmla="*/ 23 h 23"/>
                <a:gd name="T24" fmla="*/ 172 w 176"/>
                <a:gd name="T25" fmla="*/ 20 h 23"/>
                <a:gd name="T26" fmla="*/ 175 w 176"/>
                <a:gd name="T27" fmla="*/ 16 h 23"/>
                <a:gd name="T28" fmla="*/ 176 w 176"/>
                <a:gd name="T29" fmla="*/ 12 h 23"/>
                <a:gd name="T30" fmla="*/ 175 w 176"/>
                <a:gd name="T31" fmla="*/ 7 h 23"/>
                <a:gd name="T32" fmla="*/ 172 w 176"/>
                <a:gd name="T33" fmla="*/ 3 h 23"/>
                <a:gd name="T34" fmla="*/ 169 w 176"/>
                <a:gd name="T35" fmla="*/ 1 h 23"/>
                <a:gd name="T36" fmla="*/ 164 w 176"/>
                <a:gd name="T3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64" y="0"/>
                  </a:move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2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3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2"/>
                  </a:ln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157">
              <a:extLst>
                <a:ext uri="{FF2B5EF4-FFF2-40B4-BE49-F238E27FC236}">
                  <a16:creationId xmlns:a16="http://schemas.microsoft.com/office/drawing/2014/main" id="{B6151AB4-BE08-49CD-B433-9E4AF2988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679700"/>
              <a:ext cx="69850" cy="9525"/>
            </a:xfrm>
            <a:custGeom>
              <a:avLst/>
              <a:gdLst>
                <a:gd name="T0" fmla="*/ 176 w 176"/>
                <a:gd name="T1" fmla="*/ 11 h 23"/>
                <a:gd name="T2" fmla="*/ 175 w 176"/>
                <a:gd name="T3" fmla="*/ 7 h 23"/>
                <a:gd name="T4" fmla="*/ 172 w 176"/>
                <a:gd name="T5" fmla="*/ 3 h 23"/>
                <a:gd name="T6" fmla="*/ 169 w 176"/>
                <a:gd name="T7" fmla="*/ 1 h 23"/>
                <a:gd name="T8" fmla="*/ 164 w 176"/>
                <a:gd name="T9" fmla="*/ 0 h 23"/>
                <a:gd name="T10" fmla="*/ 12 w 176"/>
                <a:gd name="T11" fmla="*/ 0 h 23"/>
                <a:gd name="T12" fmla="*/ 8 w 176"/>
                <a:gd name="T13" fmla="*/ 1 h 23"/>
                <a:gd name="T14" fmla="*/ 4 w 176"/>
                <a:gd name="T15" fmla="*/ 3 h 23"/>
                <a:gd name="T16" fmla="*/ 1 w 176"/>
                <a:gd name="T17" fmla="*/ 7 h 23"/>
                <a:gd name="T18" fmla="*/ 0 w 176"/>
                <a:gd name="T19" fmla="*/ 11 h 23"/>
                <a:gd name="T20" fmla="*/ 1 w 176"/>
                <a:gd name="T21" fmla="*/ 16 h 23"/>
                <a:gd name="T22" fmla="*/ 4 w 176"/>
                <a:gd name="T23" fmla="*/ 20 h 23"/>
                <a:gd name="T24" fmla="*/ 8 w 176"/>
                <a:gd name="T25" fmla="*/ 22 h 23"/>
                <a:gd name="T26" fmla="*/ 12 w 176"/>
                <a:gd name="T27" fmla="*/ 23 h 23"/>
                <a:gd name="T28" fmla="*/ 164 w 176"/>
                <a:gd name="T29" fmla="*/ 23 h 23"/>
                <a:gd name="T30" fmla="*/ 169 w 176"/>
                <a:gd name="T31" fmla="*/ 22 h 23"/>
                <a:gd name="T32" fmla="*/ 172 w 176"/>
                <a:gd name="T33" fmla="*/ 20 h 23"/>
                <a:gd name="T34" fmla="*/ 175 w 176"/>
                <a:gd name="T35" fmla="*/ 16 h 23"/>
                <a:gd name="T36" fmla="*/ 176 w 176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6" h="23">
                  <a:moveTo>
                    <a:pt x="176" y="11"/>
                  </a:moveTo>
                  <a:lnTo>
                    <a:pt x="175" y="7"/>
                  </a:lnTo>
                  <a:lnTo>
                    <a:pt x="172" y="3"/>
                  </a:lnTo>
                  <a:lnTo>
                    <a:pt x="169" y="1"/>
                  </a:lnTo>
                  <a:lnTo>
                    <a:pt x="164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2" y="23"/>
                  </a:lnTo>
                  <a:lnTo>
                    <a:pt x="164" y="23"/>
                  </a:lnTo>
                  <a:lnTo>
                    <a:pt x="169" y="22"/>
                  </a:lnTo>
                  <a:lnTo>
                    <a:pt x="172" y="20"/>
                  </a:lnTo>
                  <a:lnTo>
                    <a:pt x="175" y="16"/>
                  </a:lnTo>
                  <a:lnTo>
                    <a:pt x="17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158">
              <a:extLst>
                <a:ext uri="{FF2B5EF4-FFF2-40B4-BE49-F238E27FC236}">
                  <a16:creationId xmlns:a16="http://schemas.microsoft.com/office/drawing/2014/main" id="{78DF4A00-694F-47BE-8349-FA5BF1152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2708275"/>
              <a:ext cx="44450" cy="9525"/>
            </a:xfrm>
            <a:custGeom>
              <a:avLst/>
              <a:gdLst>
                <a:gd name="T0" fmla="*/ 12 w 115"/>
                <a:gd name="T1" fmla="*/ 0 h 24"/>
                <a:gd name="T2" fmla="*/ 8 w 115"/>
                <a:gd name="T3" fmla="*/ 1 h 24"/>
                <a:gd name="T4" fmla="*/ 4 w 115"/>
                <a:gd name="T5" fmla="*/ 3 h 24"/>
                <a:gd name="T6" fmla="*/ 1 w 115"/>
                <a:gd name="T7" fmla="*/ 8 h 24"/>
                <a:gd name="T8" fmla="*/ 0 w 115"/>
                <a:gd name="T9" fmla="*/ 12 h 24"/>
                <a:gd name="T10" fmla="*/ 1 w 115"/>
                <a:gd name="T11" fmla="*/ 17 h 24"/>
                <a:gd name="T12" fmla="*/ 4 w 115"/>
                <a:gd name="T13" fmla="*/ 21 h 24"/>
                <a:gd name="T14" fmla="*/ 8 w 115"/>
                <a:gd name="T15" fmla="*/ 23 h 24"/>
                <a:gd name="T16" fmla="*/ 12 w 115"/>
                <a:gd name="T17" fmla="*/ 24 h 24"/>
                <a:gd name="T18" fmla="*/ 104 w 115"/>
                <a:gd name="T19" fmla="*/ 24 h 24"/>
                <a:gd name="T20" fmla="*/ 108 w 115"/>
                <a:gd name="T21" fmla="*/ 23 h 24"/>
                <a:gd name="T22" fmla="*/ 112 w 115"/>
                <a:gd name="T23" fmla="*/ 21 h 24"/>
                <a:gd name="T24" fmla="*/ 114 w 115"/>
                <a:gd name="T25" fmla="*/ 17 h 24"/>
                <a:gd name="T26" fmla="*/ 115 w 115"/>
                <a:gd name="T27" fmla="*/ 12 h 24"/>
                <a:gd name="T28" fmla="*/ 114 w 115"/>
                <a:gd name="T29" fmla="*/ 8 h 24"/>
                <a:gd name="T30" fmla="*/ 112 w 115"/>
                <a:gd name="T31" fmla="*/ 3 h 24"/>
                <a:gd name="T32" fmla="*/ 108 w 115"/>
                <a:gd name="T33" fmla="*/ 1 h 24"/>
                <a:gd name="T34" fmla="*/ 104 w 115"/>
                <a:gd name="T35" fmla="*/ 0 h 24"/>
                <a:gd name="T36" fmla="*/ 12 w 115"/>
                <a:gd name="T3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24">
                  <a:moveTo>
                    <a:pt x="12" y="0"/>
                  </a:moveTo>
                  <a:lnTo>
                    <a:pt x="8" y="1"/>
                  </a:lnTo>
                  <a:lnTo>
                    <a:pt x="4" y="3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7"/>
                  </a:lnTo>
                  <a:lnTo>
                    <a:pt x="4" y="21"/>
                  </a:lnTo>
                  <a:lnTo>
                    <a:pt x="8" y="23"/>
                  </a:lnTo>
                  <a:lnTo>
                    <a:pt x="12" y="24"/>
                  </a:lnTo>
                  <a:lnTo>
                    <a:pt x="104" y="24"/>
                  </a:lnTo>
                  <a:lnTo>
                    <a:pt x="108" y="23"/>
                  </a:lnTo>
                  <a:lnTo>
                    <a:pt x="112" y="21"/>
                  </a:lnTo>
                  <a:lnTo>
                    <a:pt x="114" y="17"/>
                  </a:lnTo>
                  <a:lnTo>
                    <a:pt x="115" y="12"/>
                  </a:lnTo>
                  <a:lnTo>
                    <a:pt x="114" y="8"/>
                  </a:lnTo>
                  <a:lnTo>
                    <a:pt x="112" y="3"/>
                  </a:lnTo>
                  <a:lnTo>
                    <a:pt x="108" y="1"/>
                  </a:lnTo>
                  <a:lnTo>
                    <a:pt x="10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159">
              <a:extLst>
                <a:ext uri="{FF2B5EF4-FFF2-40B4-BE49-F238E27FC236}">
                  <a16:creationId xmlns:a16="http://schemas.microsoft.com/office/drawing/2014/main" id="{D5132D43-FF4F-4D69-9D27-13A05C2DE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8525" y="2660650"/>
              <a:ext cx="142875" cy="142875"/>
            </a:xfrm>
            <a:custGeom>
              <a:avLst/>
              <a:gdLst>
                <a:gd name="T0" fmla="*/ 157 w 361"/>
                <a:gd name="T1" fmla="*/ 259 h 362"/>
                <a:gd name="T2" fmla="*/ 84 w 361"/>
                <a:gd name="T3" fmla="*/ 186 h 362"/>
                <a:gd name="T4" fmla="*/ 84 w 361"/>
                <a:gd name="T5" fmla="*/ 176 h 362"/>
                <a:gd name="T6" fmla="*/ 91 w 361"/>
                <a:gd name="T7" fmla="*/ 170 h 362"/>
                <a:gd name="T8" fmla="*/ 101 w 361"/>
                <a:gd name="T9" fmla="*/ 170 h 362"/>
                <a:gd name="T10" fmla="*/ 156 w 361"/>
                <a:gd name="T11" fmla="*/ 224 h 362"/>
                <a:gd name="T12" fmla="*/ 260 w 361"/>
                <a:gd name="T13" fmla="*/ 111 h 362"/>
                <a:gd name="T14" fmla="*/ 266 w 361"/>
                <a:gd name="T15" fmla="*/ 109 h 362"/>
                <a:gd name="T16" fmla="*/ 271 w 361"/>
                <a:gd name="T17" fmla="*/ 111 h 362"/>
                <a:gd name="T18" fmla="*/ 275 w 361"/>
                <a:gd name="T19" fmla="*/ 116 h 362"/>
                <a:gd name="T20" fmla="*/ 276 w 361"/>
                <a:gd name="T21" fmla="*/ 125 h 362"/>
                <a:gd name="T22" fmla="*/ 180 w 361"/>
                <a:gd name="T23" fmla="*/ 0 h 362"/>
                <a:gd name="T24" fmla="*/ 143 w 361"/>
                <a:gd name="T25" fmla="*/ 4 h 362"/>
                <a:gd name="T26" fmla="*/ 110 w 361"/>
                <a:gd name="T27" fmla="*/ 14 h 362"/>
                <a:gd name="T28" fmla="*/ 79 w 361"/>
                <a:gd name="T29" fmla="*/ 32 h 362"/>
                <a:gd name="T30" fmla="*/ 53 w 361"/>
                <a:gd name="T31" fmla="*/ 54 h 362"/>
                <a:gd name="T32" fmla="*/ 30 w 361"/>
                <a:gd name="T33" fmla="*/ 81 h 362"/>
                <a:gd name="T34" fmla="*/ 14 w 361"/>
                <a:gd name="T35" fmla="*/ 111 h 362"/>
                <a:gd name="T36" fmla="*/ 3 w 361"/>
                <a:gd name="T37" fmla="*/ 145 h 362"/>
                <a:gd name="T38" fmla="*/ 0 w 361"/>
                <a:gd name="T39" fmla="*/ 182 h 362"/>
                <a:gd name="T40" fmla="*/ 3 w 361"/>
                <a:gd name="T41" fmla="*/ 217 h 362"/>
                <a:gd name="T42" fmla="*/ 14 w 361"/>
                <a:gd name="T43" fmla="*/ 252 h 362"/>
                <a:gd name="T44" fmla="*/ 30 w 361"/>
                <a:gd name="T45" fmla="*/ 283 h 362"/>
                <a:gd name="T46" fmla="*/ 53 w 361"/>
                <a:gd name="T47" fmla="*/ 309 h 362"/>
                <a:gd name="T48" fmla="*/ 79 w 361"/>
                <a:gd name="T49" fmla="*/ 331 h 362"/>
                <a:gd name="T50" fmla="*/ 110 w 361"/>
                <a:gd name="T51" fmla="*/ 348 h 362"/>
                <a:gd name="T52" fmla="*/ 143 w 361"/>
                <a:gd name="T53" fmla="*/ 358 h 362"/>
                <a:gd name="T54" fmla="*/ 180 w 361"/>
                <a:gd name="T55" fmla="*/ 362 h 362"/>
                <a:gd name="T56" fmla="*/ 217 w 361"/>
                <a:gd name="T57" fmla="*/ 358 h 362"/>
                <a:gd name="T58" fmla="*/ 251 w 361"/>
                <a:gd name="T59" fmla="*/ 348 h 362"/>
                <a:gd name="T60" fmla="*/ 281 w 361"/>
                <a:gd name="T61" fmla="*/ 331 h 362"/>
                <a:gd name="T62" fmla="*/ 308 w 361"/>
                <a:gd name="T63" fmla="*/ 309 h 362"/>
                <a:gd name="T64" fmla="*/ 330 w 361"/>
                <a:gd name="T65" fmla="*/ 283 h 362"/>
                <a:gd name="T66" fmla="*/ 346 w 361"/>
                <a:gd name="T67" fmla="*/ 252 h 362"/>
                <a:gd name="T68" fmla="*/ 357 w 361"/>
                <a:gd name="T69" fmla="*/ 217 h 362"/>
                <a:gd name="T70" fmla="*/ 361 w 361"/>
                <a:gd name="T71" fmla="*/ 182 h 362"/>
                <a:gd name="T72" fmla="*/ 357 w 361"/>
                <a:gd name="T73" fmla="*/ 145 h 362"/>
                <a:gd name="T74" fmla="*/ 346 w 361"/>
                <a:gd name="T75" fmla="*/ 111 h 362"/>
                <a:gd name="T76" fmla="*/ 330 w 361"/>
                <a:gd name="T77" fmla="*/ 81 h 362"/>
                <a:gd name="T78" fmla="*/ 308 w 361"/>
                <a:gd name="T79" fmla="*/ 54 h 362"/>
                <a:gd name="T80" fmla="*/ 281 w 361"/>
                <a:gd name="T81" fmla="*/ 32 h 362"/>
                <a:gd name="T82" fmla="*/ 251 w 361"/>
                <a:gd name="T83" fmla="*/ 14 h 362"/>
                <a:gd name="T84" fmla="*/ 217 w 361"/>
                <a:gd name="T85" fmla="*/ 4 h 362"/>
                <a:gd name="T86" fmla="*/ 180 w 361"/>
                <a:gd name="T8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1" h="362">
                  <a:moveTo>
                    <a:pt x="273" y="130"/>
                  </a:moveTo>
                  <a:lnTo>
                    <a:pt x="157" y="259"/>
                  </a:lnTo>
                  <a:lnTo>
                    <a:pt x="87" y="190"/>
                  </a:lnTo>
                  <a:lnTo>
                    <a:pt x="84" y="186"/>
                  </a:lnTo>
                  <a:lnTo>
                    <a:pt x="83" y="182"/>
                  </a:lnTo>
                  <a:lnTo>
                    <a:pt x="84" y="176"/>
                  </a:lnTo>
                  <a:lnTo>
                    <a:pt x="87" y="172"/>
                  </a:lnTo>
                  <a:lnTo>
                    <a:pt x="91" y="170"/>
                  </a:lnTo>
                  <a:lnTo>
                    <a:pt x="96" y="169"/>
                  </a:lnTo>
                  <a:lnTo>
                    <a:pt x="101" y="170"/>
                  </a:lnTo>
                  <a:lnTo>
                    <a:pt x="105" y="172"/>
                  </a:lnTo>
                  <a:lnTo>
                    <a:pt x="156" y="224"/>
                  </a:lnTo>
                  <a:lnTo>
                    <a:pt x="256" y="113"/>
                  </a:lnTo>
                  <a:lnTo>
                    <a:pt x="260" y="111"/>
                  </a:lnTo>
                  <a:lnTo>
                    <a:pt x="264" y="109"/>
                  </a:lnTo>
                  <a:lnTo>
                    <a:pt x="266" y="109"/>
                  </a:lnTo>
                  <a:lnTo>
                    <a:pt x="268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5" y="116"/>
                  </a:lnTo>
                  <a:lnTo>
                    <a:pt x="276" y="121"/>
                  </a:lnTo>
                  <a:lnTo>
                    <a:pt x="276" y="125"/>
                  </a:lnTo>
                  <a:lnTo>
                    <a:pt x="273" y="130"/>
                  </a:lnTo>
                  <a:close/>
                  <a:moveTo>
                    <a:pt x="180" y="0"/>
                  </a:moveTo>
                  <a:lnTo>
                    <a:pt x="162" y="1"/>
                  </a:lnTo>
                  <a:lnTo>
                    <a:pt x="143" y="4"/>
                  </a:lnTo>
                  <a:lnTo>
                    <a:pt x="126" y="8"/>
                  </a:lnTo>
                  <a:lnTo>
                    <a:pt x="110" y="14"/>
                  </a:lnTo>
                  <a:lnTo>
                    <a:pt x="94" y="23"/>
                  </a:lnTo>
                  <a:lnTo>
                    <a:pt x="79" y="32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0" y="66"/>
                  </a:lnTo>
                  <a:lnTo>
                    <a:pt x="30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2"/>
                  </a:lnTo>
                  <a:lnTo>
                    <a:pt x="1" y="200"/>
                  </a:lnTo>
                  <a:lnTo>
                    <a:pt x="3" y="217"/>
                  </a:lnTo>
                  <a:lnTo>
                    <a:pt x="8" y="235"/>
                  </a:lnTo>
                  <a:lnTo>
                    <a:pt x="14" y="252"/>
                  </a:lnTo>
                  <a:lnTo>
                    <a:pt x="21" y="267"/>
                  </a:lnTo>
                  <a:lnTo>
                    <a:pt x="30" y="283"/>
                  </a:lnTo>
                  <a:lnTo>
                    <a:pt x="40" y="296"/>
                  </a:lnTo>
                  <a:lnTo>
                    <a:pt x="53" y="309"/>
                  </a:lnTo>
                  <a:lnTo>
                    <a:pt x="65" y="320"/>
                  </a:lnTo>
                  <a:lnTo>
                    <a:pt x="79" y="331"/>
                  </a:lnTo>
                  <a:lnTo>
                    <a:pt x="94" y="340"/>
                  </a:lnTo>
                  <a:lnTo>
                    <a:pt x="110" y="348"/>
                  </a:lnTo>
                  <a:lnTo>
                    <a:pt x="126" y="354"/>
                  </a:lnTo>
                  <a:lnTo>
                    <a:pt x="143" y="358"/>
                  </a:lnTo>
                  <a:lnTo>
                    <a:pt x="162" y="361"/>
                  </a:lnTo>
                  <a:lnTo>
                    <a:pt x="180" y="362"/>
                  </a:lnTo>
                  <a:lnTo>
                    <a:pt x="199" y="361"/>
                  </a:lnTo>
                  <a:lnTo>
                    <a:pt x="217" y="358"/>
                  </a:lnTo>
                  <a:lnTo>
                    <a:pt x="234" y="354"/>
                  </a:lnTo>
                  <a:lnTo>
                    <a:pt x="251" y="348"/>
                  </a:lnTo>
                  <a:lnTo>
                    <a:pt x="266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0" y="283"/>
                  </a:lnTo>
                  <a:lnTo>
                    <a:pt x="339" y="267"/>
                  </a:lnTo>
                  <a:lnTo>
                    <a:pt x="346" y="252"/>
                  </a:lnTo>
                  <a:lnTo>
                    <a:pt x="352" y="235"/>
                  </a:lnTo>
                  <a:lnTo>
                    <a:pt x="357" y="217"/>
                  </a:lnTo>
                  <a:lnTo>
                    <a:pt x="360" y="200"/>
                  </a:lnTo>
                  <a:lnTo>
                    <a:pt x="361" y="182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20" y="66"/>
                  </a:lnTo>
                  <a:lnTo>
                    <a:pt x="308" y="54"/>
                  </a:lnTo>
                  <a:lnTo>
                    <a:pt x="295" y="42"/>
                  </a:lnTo>
                  <a:lnTo>
                    <a:pt x="281" y="32"/>
                  </a:lnTo>
                  <a:lnTo>
                    <a:pt x="266" y="23"/>
                  </a:lnTo>
                  <a:lnTo>
                    <a:pt x="251" y="14"/>
                  </a:lnTo>
                  <a:lnTo>
                    <a:pt x="234" y="8"/>
                  </a:lnTo>
                  <a:lnTo>
                    <a:pt x="217" y="4"/>
                  </a:lnTo>
                  <a:lnTo>
                    <a:pt x="199" y="1"/>
                  </a:lnTo>
                  <a:lnTo>
                    <a:pt x="1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160">
              <a:extLst>
                <a:ext uri="{FF2B5EF4-FFF2-40B4-BE49-F238E27FC236}">
                  <a16:creationId xmlns:a16="http://schemas.microsoft.com/office/drawing/2014/main" id="{901D1E2B-5D8D-4054-9B70-5FC2C9F6B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3275" y="2516188"/>
              <a:ext cx="104775" cy="82550"/>
            </a:xfrm>
            <a:custGeom>
              <a:avLst/>
              <a:gdLst>
                <a:gd name="T0" fmla="*/ 253 w 264"/>
                <a:gd name="T1" fmla="*/ 205 h 205"/>
                <a:gd name="T2" fmla="*/ 261 w 264"/>
                <a:gd name="T3" fmla="*/ 202 h 205"/>
                <a:gd name="T4" fmla="*/ 264 w 264"/>
                <a:gd name="T5" fmla="*/ 193 h 205"/>
                <a:gd name="T6" fmla="*/ 263 w 264"/>
                <a:gd name="T7" fmla="*/ 56 h 205"/>
                <a:gd name="T8" fmla="*/ 257 w 264"/>
                <a:gd name="T9" fmla="*/ 49 h 205"/>
                <a:gd name="T10" fmla="*/ 215 w 264"/>
                <a:gd name="T11" fmla="*/ 48 h 205"/>
                <a:gd name="T12" fmla="*/ 204 w 264"/>
                <a:gd name="T13" fmla="*/ 43 h 205"/>
                <a:gd name="T14" fmla="*/ 200 w 264"/>
                <a:gd name="T15" fmla="*/ 32 h 205"/>
                <a:gd name="T16" fmla="*/ 191 w 264"/>
                <a:gd name="T17" fmla="*/ 19 h 205"/>
                <a:gd name="T18" fmla="*/ 176 w 264"/>
                <a:gd name="T19" fmla="*/ 9 h 205"/>
                <a:gd name="T20" fmla="*/ 167 w 264"/>
                <a:gd name="T21" fmla="*/ 5 h 205"/>
                <a:gd name="T22" fmla="*/ 164 w 264"/>
                <a:gd name="T23" fmla="*/ 4 h 205"/>
                <a:gd name="T24" fmla="*/ 160 w 264"/>
                <a:gd name="T25" fmla="*/ 4 h 205"/>
                <a:gd name="T26" fmla="*/ 157 w 264"/>
                <a:gd name="T27" fmla="*/ 3 h 205"/>
                <a:gd name="T28" fmla="*/ 153 w 264"/>
                <a:gd name="T29" fmla="*/ 2 h 205"/>
                <a:gd name="T30" fmla="*/ 149 w 264"/>
                <a:gd name="T31" fmla="*/ 1 h 205"/>
                <a:gd name="T32" fmla="*/ 145 w 264"/>
                <a:gd name="T33" fmla="*/ 1 h 205"/>
                <a:gd name="T34" fmla="*/ 139 w 264"/>
                <a:gd name="T35" fmla="*/ 0 h 205"/>
                <a:gd name="T36" fmla="*/ 130 w 264"/>
                <a:gd name="T37" fmla="*/ 0 h 205"/>
                <a:gd name="T38" fmla="*/ 123 w 264"/>
                <a:gd name="T39" fmla="*/ 1 h 205"/>
                <a:gd name="T40" fmla="*/ 119 w 264"/>
                <a:gd name="T41" fmla="*/ 1 h 205"/>
                <a:gd name="T42" fmla="*/ 115 w 264"/>
                <a:gd name="T43" fmla="*/ 2 h 205"/>
                <a:gd name="T44" fmla="*/ 111 w 264"/>
                <a:gd name="T45" fmla="*/ 3 h 205"/>
                <a:gd name="T46" fmla="*/ 108 w 264"/>
                <a:gd name="T47" fmla="*/ 4 h 205"/>
                <a:gd name="T48" fmla="*/ 104 w 264"/>
                <a:gd name="T49" fmla="*/ 4 h 205"/>
                <a:gd name="T50" fmla="*/ 101 w 264"/>
                <a:gd name="T51" fmla="*/ 5 h 205"/>
                <a:gd name="T52" fmla="*/ 92 w 264"/>
                <a:gd name="T53" fmla="*/ 9 h 205"/>
                <a:gd name="T54" fmla="*/ 78 w 264"/>
                <a:gd name="T55" fmla="*/ 19 h 205"/>
                <a:gd name="T56" fmla="*/ 68 w 264"/>
                <a:gd name="T57" fmla="*/ 32 h 205"/>
                <a:gd name="T58" fmla="*/ 64 w 264"/>
                <a:gd name="T59" fmla="*/ 43 h 205"/>
                <a:gd name="T60" fmla="*/ 53 w 264"/>
                <a:gd name="T61" fmla="*/ 48 h 205"/>
                <a:gd name="T62" fmla="*/ 7 w 264"/>
                <a:gd name="T63" fmla="*/ 49 h 205"/>
                <a:gd name="T64" fmla="*/ 0 w 264"/>
                <a:gd name="T65" fmla="*/ 56 h 205"/>
                <a:gd name="T66" fmla="*/ 0 w 264"/>
                <a:gd name="T67" fmla="*/ 193 h 205"/>
                <a:gd name="T68" fmla="*/ 3 w 264"/>
                <a:gd name="T69" fmla="*/ 202 h 205"/>
                <a:gd name="T70" fmla="*/ 11 w 264"/>
                <a:gd name="T7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4" h="205">
                  <a:moveTo>
                    <a:pt x="11" y="205"/>
                  </a:moveTo>
                  <a:lnTo>
                    <a:pt x="253" y="205"/>
                  </a:lnTo>
                  <a:lnTo>
                    <a:pt x="257" y="204"/>
                  </a:lnTo>
                  <a:lnTo>
                    <a:pt x="261" y="202"/>
                  </a:lnTo>
                  <a:lnTo>
                    <a:pt x="263" y="198"/>
                  </a:lnTo>
                  <a:lnTo>
                    <a:pt x="264" y="193"/>
                  </a:lnTo>
                  <a:lnTo>
                    <a:pt x="264" y="60"/>
                  </a:lnTo>
                  <a:lnTo>
                    <a:pt x="263" y="56"/>
                  </a:lnTo>
                  <a:lnTo>
                    <a:pt x="261" y="52"/>
                  </a:lnTo>
                  <a:lnTo>
                    <a:pt x="257" y="49"/>
                  </a:lnTo>
                  <a:lnTo>
                    <a:pt x="253" y="48"/>
                  </a:lnTo>
                  <a:lnTo>
                    <a:pt x="215" y="48"/>
                  </a:lnTo>
                  <a:lnTo>
                    <a:pt x="206" y="48"/>
                  </a:lnTo>
                  <a:lnTo>
                    <a:pt x="204" y="43"/>
                  </a:lnTo>
                  <a:lnTo>
                    <a:pt x="202" y="38"/>
                  </a:lnTo>
                  <a:lnTo>
                    <a:pt x="200" y="32"/>
                  </a:lnTo>
                  <a:lnTo>
                    <a:pt x="196" y="26"/>
                  </a:lnTo>
                  <a:lnTo>
                    <a:pt x="191" y="19"/>
                  </a:lnTo>
                  <a:lnTo>
                    <a:pt x="185" y="14"/>
                  </a:lnTo>
                  <a:lnTo>
                    <a:pt x="176" y="9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7" y="3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2" y="1"/>
                  </a:lnTo>
                  <a:lnTo>
                    <a:pt x="149" y="1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3" y="1"/>
                  </a:lnTo>
                  <a:lnTo>
                    <a:pt x="139" y="0"/>
                  </a:lnTo>
                  <a:lnTo>
                    <a:pt x="135" y="0"/>
                  </a:lnTo>
                  <a:lnTo>
                    <a:pt x="130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1" y="3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7" y="4"/>
                  </a:lnTo>
                  <a:lnTo>
                    <a:pt x="104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92" y="9"/>
                  </a:lnTo>
                  <a:lnTo>
                    <a:pt x="84" y="14"/>
                  </a:lnTo>
                  <a:lnTo>
                    <a:pt x="78" y="19"/>
                  </a:lnTo>
                  <a:lnTo>
                    <a:pt x="72" y="26"/>
                  </a:lnTo>
                  <a:lnTo>
                    <a:pt x="68" y="32"/>
                  </a:lnTo>
                  <a:lnTo>
                    <a:pt x="66" y="38"/>
                  </a:lnTo>
                  <a:lnTo>
                    <a:pt x="64" y="43"/>
                  </a:lnTo>
                  <a:lnTo>
                    <a:pt x="62" y="48"/>
                  </a:lnTo>
                  <a:lnTo>
                    <a:pt x="53" y="48"/>
                  </a:lnTo>
                  <a:lnTo>
                    <a:pt x="11" y="48"/>
                  </a:lnTo>
                  <a:lnTo>
                    <a:pt x="7" y="49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193"/>
                  </a:lnTo>
                  <a:lnTo>
                    <a:pt x="0" y="198"/>
                  </a:lnTo>
                  <a:lnTo>
                    <a:pt x="3" y="202"/>
                  </a:lnTo>
                  <a:lnTo>
                    <a:pt x="7" y="204"/>
                  </a:lnTo>
                  <a:lnTo>
                    <a:pt x="11" y="2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CD0A05D-30DF-4728-A282-E628839E133F}"/>
              </a:ext>
            </a:extLst>
          </p:cNvPr>
          <p:cNvSpPr txBox="1"/>
          <p:nvPr/>
        </p:nvSpPr>
        <p:spPr>
          <a:xfrm>
            <a:off x="1013588" y="4486843"/>
            <a:ext cx="1943474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2400" dirty="0" err="1">
                <a:solidFill>
                  <a:srgbClr val="222021"/>
                </a:solidFill>
              </a:rPr>
              <a:t>Pemetaan</a:t>
            </a:r>
            <a:r>
              <a:rPr lang="en-US" sz="2400" dirty="0">
                <a:solidFill>
                  <a:srgbClr val="222021"/>
                </a:solidFill>
              </a:rPr>
              <a:t> </a:t>
            </a:r>
            <a:r>
              <a:rPr lang="en-US" sz="2400" dirty="0" err="1">
                <a:solidFill>
                  <a:srgbClr val="222021"/>
                </a:solidFill>
              </a:rPr>
              <a:t>Urusan</a:t>
            </a:r>
            <a:r>
              <a:rPr lang="en-US" sz="2400" dirty="0">
                <a:solidFill>
                  <a:srgbClr val="222021"/>
                </a:solidFill>
              </a:rPr>
              <a:t> </a:t>
            </a:r>
            <a:r>
              <a:rPr lang="en-US" sz="2400" dirty="0" err="1">
                <a:solidFill>
                  <a:srgbClr val="222021"/>
                </a:solidFill>
              </a:rPr>
              <a:t>Pemerintahan</a:t>
            </a:r>
            <a:endParaRPr lang="en-US" sz="2400" dirty="0">
              <a:solidFill>
                <a:srgbClr val="22202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A0B3E0-ACE2-43D1-98EE-043A5FD3AA79}"/>
              </a:ext>
            </a:extLst>
          </p:cNvPr>
          <p:cNvSpPr txBox="1"/>
          <p:nvPr/>
        </p:nvSpPr>
        <p:spPr>
          <a:xfrm>
            <a:off x="3941134" y="4470299"/>
            <a:ext cx="1943474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2400" dirty="0" err="1">
                <a:solidFill>
                  <a:srgbClr val="222021"/>
                </a:solidFill>
              </a:rPr>
              <a:t>Perumusan</a:t>
            </a:r>
            <a:r>
              <a:rPr lang="en-US" sz="2400" dirty="0">
                <a:solidFill>
                  <a:srgbClr val="222021"/>
                </a:solidFill>
              </a:rPr>
              <a:t> &amp; </a:t>
            </a:r>
            <a:r>
              <a:rPr lang="en-US" sz="2400" dirty="0" err="1">
                <a:solidFill>
                  <a:srgbClr val="222021"/>
                </a:solidFill>
              </a:rPr>
              <a:t>Penetapan</a:t>
            </a:r>
            <a:r>
              <a:rPr lang="en-US" sz="2400" dirty="0">
                <a:solidFill>
                  <a:srgbClr val="222021"/>
                </a:solidFill>
              </a:rPr>
              <a:t> </a:t>
            </a:r>
            <a:r>
              <a:rPr lang="en-US" sz="2400" dirty="0" err="1">
                <a:solidFill>
                  <a:srgbClr val="222021"/>
                </a:solidFill>
              </a:rPr>
              <a:t>Kebijakan</a:t>
            </a:r>
            <a:endParaRPr lang="en-US" sz="2400" dirty="0">
              <a:solidFill>
                <a:srgbClr val="22202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2BF521-1060-452C-A92E-8D1CC488F001}"/>
              </a:ext>
            </a:extLst>
          </p:cNvPr>
          <p:cNvSpPr txBox="1"/>
          <p:nvPr/>
        </p:nvSpPr>
        <p:spPr>
          <a:xfrm>
            <a:off x="6684922" y="4470299"/>
            <a:ext cx="1943474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2400" dirty="0" err="1">
                <a:solidFill>
                  <a:srgbClr val="222021"/>
                </a:solidFill>
              </a:rPr>
              <a:t>Pelaksanaan</a:t>
            </a:r>
            <a:endParaRPr lang="en-US" sz="2400" dirty="0">
              <a:solidFill>
                <a:srgbClr val="22202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0C6579-4533-4489-BEB0-E4731F33F573}"/>
              </a:ext>
            </a:extLst>
          </p:cNvPr>
          <p:cNvSpPr txBox="1"/>
          <p:nvPr/>
        </p:nvSpPr>
        <p:spPr>
          <a:xfrm>
            <a:off x="9393739" y="4447466"/>
            <a:ext cx="1943474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2400" dirty="0">
                <a:solidFill>
                  <a:srgbClr val="222021"/>
                </a:solidFill>
              </a:rPr>
              <a:t>Monitoring dan </a:t>
            </a:r>
            <a:r>
              <a:rPr lang="en-US" sz="2400" dirty="0" err="1">
                <a:solidFill>
                  <a:srgbClr val="222021"/>
                </a:solidFill>
              </a:rPr>
              <a:t>Evaluasi</a:t>
            </a:r>
            <a:endParaRPr lang="en-US" sz="2400" dirty="0">
              <a:solidFill>
                <a:srgbClr val="2220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223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2F92F17-8250-48F7-A94A-19C6713780B6}"/>
              </a:ext>
            </a:extLst>
          </p:cNvPr>
          <p:cNvSpPr txBox="1"/>
          <p:nvPr/>
        </p:nvSpPr>
        <p:spPr>
          <a:xfrm>
            <a:off x="2756078" y="325955"/>
            <a:ext cx="6778172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PEMETAAN URUSAN PEMERINTAHAN</a:t>
            </a:r>
            <a:endParaRPr kumimoji="0" lang="en-ID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5837849B-E64D-4295-B41C-EDD3D4F1EC83}"/>
              </a:ext>
            </a:extLst>
          </p:cNvPr>
          <p:cNvSpPr txBox="1"/>
          <p:nvPr/>
        </p:nvSpPr>
        <p:spPr>
          <a:xfrm>
            <a:off x="2721662" y="276789"/>
            <a:ext cx="6778172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3200" b="1" i="0" u="none" strike="noStrike" kern="1200" cap="none" spc="0" normalizeH="0" baseline="0" noProof="0" dirty="0">
                <a:ln>
                  <a:noFill/>
                </a:ln>
                <a:solidFill>
                  <a:srgbClr val="26AA83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PEMETAAN URUSAN PEMERINTAHAN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A3840A4-8E4C-42C5-B262-77B2DCAA9561}"/>
              </a:ext>
            </a:extLst>
          </p:cNvPr>
          <p:cNvGrpSpPr/>
          <p:nvPr/>
        </p:nvGrpSpPr>
        <p:grpSpPr>
          <a:xfrm>
            <a:off x="6308165" y="3709084"/>
            <a:ext cx="1154113" cy="2367412"/>
            <a:chOff x="5472113" y="2155825"/>
            <a:chExt cx="1238250" cy="2540000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F72B252-013D-4BFF-8F15-46FEF9921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2113" y="2625725"/>
              <a:ext cx="246063" cy="214313"/>
            </a:xfrm>
            <a:custGeom>
              <a:avLst/>
              <a:gdLst>
                <a:gd name="T0" fmla="*/ 71 w 82"/>
                <a:gd name="T1" fmla="*/ 72 h 72"/>
                <a:gd name="T2" fmla="*/ 82 w 82"/>
                <a:gd name="T3" fmla="*/ 53 h 72"/>
                <a:gd name="T4" fmla="*/ 57 w 82"/>
                <a:gd name="T5" fmla="*/ 38 h 72"/>
                <a:gd name="T6" fmla="*/ 52 w 82"/>
                <a:gd name="T7" fmla="*/ 6 h 72"/>
                <a:gd name="T8" fmla="*/ 46 w 82"/>
                <a:gd name="T9" fmla="*/ 6 h 72"/>
                <a:gd name="T10" fmla="*/ 42 w 82"/>
                <a:gd name="T11" fmla="*/ 22 h 72"/>
                <a:gd name="T12" fmla="*/ 16 w 82"/>
                <a:gd name="T13" fmla="*/ 4 h 72"/>
                <a:gd name="T14" fmla="*/ 16 w 82"/>
                <a:gd name="T15" fmla="*/ 10 h 72"/>
                <a:gd name="T16" fmla="*/ 34 w 82"/>
                <a:gd name="T17" fmla="*/ 27 h 72"/>
                <a:gd name="T18" fmla="*/ 7 w 82"/>
                <a:gd name="T19" fmla="*/ 8 h 72"/>
                <a:gd name="T20" fmla="*/ 6 w 82"/>
                <a:gd name="T21" fmla="*/ 13 h 72"/>
                <a:gd name="T22" fmla="*/ 30 w 82"/>
                <a:gd name="T23" fmla="*/ 33 h 72"/>
                <a:gd name="T24" fmla="*/ 6 w 82"/>
                <a:gd name="T25" fmla="*/ 21 h 72"/>
                <a:gd name="T26" fmla="*/ 7 w 82"/>
                <a:gd name="T27" fmla="*/ 26 h 72"/>
                <a:gd name="T28" fmla="*/ 27 w 82"/>
                <a:gd name="T29" fmla="*/ 40 h 72"/>
                <a:gd name="T30" fmla="*/ 9 w 82"/>
                <a:gd name="T31" fmla="*/ 35 h 72"/>
                <a:gd name="T32" fmla="*/ 11 w 82"/>
                <a:gd name="T33" fmla="*/ 40 h 72"/>
                <a:gd name="T34" fmla="*/ 37 w 82"/>
                <a:gd name="T35" fmla="*/ 54 h 72"/>
                <a:gd name="T36" fmla="*/ 52 w 82"/>
                <a:gd name="T37" fmla="*/ 57 h 72"/>
                <a:gd name="T38" fmla="*/ 71 w 82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72">
                  <a:moveTo>
                    <a:pt x="71" y="72"/>
                  </a:moveTo>
                  <a:cubicBezTo>
                    <a:pt x="82" y="53"/>
                    <a:pt x="82" y="53"/>
                    <a:pt x="82" y="53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0" y="26"/>
                    <a:pt x="50" y="12"/>
                    <a:pt x="52" y="6"/>
                  </a:cubicBezTo>
                  <a:cubicBezTo>
                    <a:pt x="54" y="0"/>
                    <a:pt x="48" y="0"/>
                    <a:pt x="46" y="6"/>
                  </a:cubicBezTo>
                  <a:cubicBezTo>
                    <a:pt x="44" y="12"/>
                    <a:pt x="42" y="22"/>
                    <a:pt x="42" y="22"/>
                  </a:cubicBezTo>
                  <a:cubicBezTo>
                    <a:pt x="42" y="22"/>
                    <a:pt x="20" y="7"/>
                    <a:pt x="16" y="4"/>
                  </a:cubicBezTo>
                  <a:cubicBezTo>
                    <a:pt x="13" y="2"/>
                    <a:pt x="11" y="6"/>
                    <a:pt x="16" y="10"/>
                  </a:cubicBezTo>
                  <a:cubicBezTo>
                    <a:pt x="21" y="14"/>
                    <a:pt x="34" y="27"/>
                    <a:pt x="34" y="27"/>
                  </a:cubicBezTo>
                  <a:cubicBezTo>
                    <a:pt x="34" y="27"/>
                    <a:pt x="9" y="10"/>
                    <a:pt x="7" y="8"/>
                  </a:cubicBezTo>
                  <a:cubicBezTo>
                    <a:pt x="5" y="6"/>
                    <a:pt x="1" y="10"/>
                    <a:pt x="6" y="13"/>
                  </a:cubicBezTo>
                  <a:cubicBezTo>
                    <a:pt x="13" y="19"/>
                    <a:pt x="30" y="33"/>
                    <a:pt x="30" y="33"/>
                  </a:cubicBezTo>
                  <a:cubicBezTo>
                    <a:pt x="30" y="33"/>
                    <a:pt x="9" y="22"/>
                    <a:pt x="6" y="21"/>
                  </a:cubicBezTo>
                  <a:cubicBezTo>
                    <a:pt x="2" y="19"/>
                    <a:pt x="0" y="21"/>
                    <a:pt x="7" y="26"/>
                  </a:cubicBezTo>
                  <a:cubicBezTo>
                    <a:pt x="13" y="31"/>
                    <a:pt x="27" y="40"/>
                    <a:pt x="27" y="40"/>
                  </a:cubicBezTo>
                  <a:cubicBezTo>
                    <a:pt x="25" y="40"/>
                    <a:pt x="15" y="36"/>
                    <a:pt x="9" y="35"/>
                  </a:cubicBezTo>
                  <a:cubicBezTo>
                    <a:pt x="5" y="33"/>
                    <a:pt x="3" y="37"/>
                    <a:pt x="11" y="40"/>
                  </a:cubicBezTo>
                  <a:cubicBezTo>
                    <a:pt x="19" y="44"/>
                    <a:pt x="29" y="51"/>
                    <a:pt x="37" y="54"/>
                  </a:cubicBezTo>
                  <a:cubicBezTo>
                    <a:pt x="45" y="58"/>
                    <a:pt x="52" y="57"/>
                    <a:pt x="52" y="57"/>
                  </a:cubicBezTo>
                  <a:lnTo>
                    <a:pt x="71" y="72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5DDC114-16BA-499C-ACC9-0C812B308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9588" y="2709863"/>
              <a:ext cx="128588" cy="130175"/>
            </a:xfrm>
            <a:custGeom>
              <a:avLst/>
              <a:gdLst>
                <a:gd name="T0" fmla="*/ 13 w 43"/>
                <a:gd name="T1" fmla="*/ 29 h 44"/>
                <a:gd name="T2" fmla="*/ 32 w 43"/>
                <a:gd name="T3" fmla="*/ 44 h 44"/>
                <a:gd name="T4" fmla="*/ 43 w 43"/>
                <a:gd name="T5" fmla="*/ 25 h 44"/>
                <a:gd name="T6" fmla="*/ 18 w 43"/>
                <a:gd name="T7" fmla="*/ 10 h 44"/>
                <a:gd name="T8" fmla="*/ 14 w 43"/>
                <a:gd name="T9" fmla="*/ 0 h 44"/>
                <a:gd name="T10" fmla="*/ 0 w 43"/>
                <a:gd name="T11" fmla="*/ 23 h 44"/>
                <a:gd name="T12" fmla="*/ 0 w 43"/>
                <a:gd name="T13" fmla="*/ 27 h 44"/>
                <a:gd name="T14" fmla="*/ 13 w 43"/>
                <a:gd name="T15" fmla="*/ 2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4">
                  <a:moveTo>
                    <a:pt x="13" y="29"/>
                  </a:moveTo>
                  <a:cubicBezTo>
                    <a:pt x="32" y="44"/>
                    <a:pt x="32" y="44"/>
                    <a:pt x="32" y="44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6" y="7"/>
                    <a:pt x="15" y="3"/>
                    <a:pt x="14" y="0"/>
                  </a:cubicBezTo>
                  <a:cubicBezTo>
                    <a:pt x="6" y="8"/>
                    <a:pt x="1" y="16"/>
                    <a:pt x="0" y="23"/>
                  </a:cubicBezTo>
                  <a:cubicBezTo>
                    <a:pt x="0" y="24"/>
                    <a:pt x="0" y="25"/>
                    <a:pt x="0" y="27"/>
                  </a:cubicBezTo>
                  <a:cubicBezTo>
                    <a:pt x="7" y="30"/>
                    <a:pt x="13" y="29"/>
                    <a:pt x="13" y="29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1E803A1-2052-434C-AF2C-E4FAC5712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613025"/>
              <a:ext cx="561975" cy="419100"/>
            </a:xfrm>
            <a:custGeom>
              <a:avLst/>
              <a:gdLst>
                <a:gd name="T0" fmla="*/ 174 w 187"/>
                <a:gd name="T1" fmla="*/ 9 h 140"/>
                <a:gd name="T2" fmla="*/ 132 w 187"/>
                <a:gd name="T3" fmla="*/ 33 h 140"/>
                <a:gd name="T4" fmla="*/ 93 w 187"/>
                <a:gd name="T5" fmla="*/ 97 h 140"/>
                <a:gd name="T6" fmla="*/ 13 w 187"/>
                <a:gd name="T7" fmla="*/ 48 h 140"/>
                <a:gd name="T8" fmla="*/ 0 w 187"/>
                <a:gd name="T9" fmla="*/ 64 h 140"/>
                <a:gd name="T10" fmla="*/ 99 w 187"/>
                <a:gd name="T11" fmla="*/ 140 h 140"/>
                <a:gd name="T12" fmla="*/ 168 w 187"/>
                <a:gd name="T13" fmla="*/ 51 h 140"/>
                <a:gd name="T14" fmla="*/ 174 w 187"/>
                <a:gd name="T15" fmla="*/ 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40">
                  <a:moveTo>
                    <a:pt x="174" y="9"/>
                  </a:moveTo>
                  <a:cubicBezTo>
                    <a:pt x="161" y="0"/>
                    <a:pt x="145" y="15"/>
                    <a:pt x="132" y="33"/>
                  </a:cubicBezTo>
                  <a:cubicBezTo>
                    <a:pt x="120" y="51"/>
                    <a:pt x="93" y="97"/>
                    <a:pt x="93" y="97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99" y="140"/>
                    <a:pt x="99" y="140"/>
                    <a:pt x="99" y="140"/>
                  </a:cubicBezTo>
                  <a:cubicBezTo>
                    <a:pt x="99" y="140"/>
                    <a:pt x="159" y="62"/>
                    <a:pt x="168" y="51"/>
                  </a:cubicBezTo>
                  <a:cubicBezTo>
                    <a:pt x="177" y="39"/>
                    <a:pt x="187" y="18"/>
                    <a:pt x="174" y="9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BF3C4DB5-68AE-493E-8221-B34F396AA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6613" y="2832100"/>
              <a:ext cx="103188" cy="200025"/>
            </a:xfrm>
            <a:custGeom>
              <a:avLst/>
              <a:gdLst>
                <a:gd name="T0" fmla="*/ 0 w 34"/>
                <a:gd name="T1" fmla="*/ 23 h 67"/>
                <a:gd name="T2" fmla="*/ 2 w 34"/>
                <a:gd name="T3" fmla="*/ 20 h 67"/>
                <a:gd name="T4" fmla="*/ 2 w 34"/>
                <a:gd name="T5" fmla="*/ 20 h 67"/>
                <a:gd name="T6" fmla="*/ 14 w 34"/>
                <a:gd name="T7" fmla="*/ 0 h 67"/>
                <a:gd name="T8" fmla="*/ 34 w 34"/>
                <a:gd name="T9" fmla="*/ 31 h 67"/>
                <a:gd name="T10" fmla="*/ 6 w 34"/>
                <a:gd name="T11" fmla="*/ 67 h 67"/>
                <a:gd name="T12" fmla="*/ 5 w 34"/>
                <a:gd name="T13" fmla="*/ 67 h 67"/>
                <a:gd name="T14" fmla="*/ 0 w 34"/>
                <a:gd name="T15" fmla="*/ 24 h 67"/>
                <a:gd name="T16" fmla="*/ 0 w 34"/>
                <a:gd name="T17" fmla="*/ 2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67">
                  <a:moveTo>
                    <a:pt x="0" y="23"/>
                  </a:moveTo>
                  <a:cubicBezTo>
                    <a:pt x="1" y="22"/>
                    <a:pt x="1" y="21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5" y="16"/>
                    <a:pt x="9" y="8"/>
                    <a:pt x="14" y="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19" y="51"/>
                    <a:pt x="6" y="67"/>
                    <a:pt x="6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1C2C14A-275E-4D62-82D0-BF6D0763F6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2013" y="2530475"/>
              <a:ext cx="341313" cy="390525"/>
            </a:xfrm>
            <a:custGeom>
              <a:avLst/>
              <a:gdLst>
                <a:gd name="T0" fmla="*/ 45 w 114"/>
                <a:gd name="T1" fmla="*/ 131 h 131"/>
                <a:gd name="T2" fmla="*/ 0 w 114"/>
                <a:gd name="T3" fmla="*/ 75 h 131"/>
                <a:gd name="T4" fmla="*/ 41 w 114"/>
                <a:gd name="T5" fmla="*/ 19 h 131"/>
                <a:gd name="T6" fmla="*/ 91 w 114"/>
                <a:gd name="T7" fmla="*/ 13 h 131"/>
                <a:gd name="T8" fmla="*/ 88 w 114"/>
                <a:gd name="T9" fmla="*/ 66 h 131"/>
                <a:gd name="T10" fmla="*/ 45 w 114"/>
                <a:gd name="T1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131">
                  <a:moveTo>
                    <a:pt x="45" y="131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36" y="28"/>
                    <a:pt x="41" y="19"/>
                  </a:cubicBezTo>
                  <a:cubicBezTo>
                    <a:pt x="46" y="11"/>
                    <a:pt x="68" y="0"/>
                    <a:pt x="91" y="13"/>
                  </a:cubicBezTo>
                  <a:cubicBezTo>
                    <a:pt x="114" y="25"/>
                    <a:pt x="103" y="47"/>
                    <a:pt x="88" y="66"/>
                  </a:cubicBezTo>
                  <a:cubicBezTo>
                    <a:pt x="73" y="86"/>
                    <a:pt x="45" y="131"/>
                    <a:pt x="45" y="131"/>
                  </a:cubicBezTo>
                  <a:close/>
                </a:path>
              </a:pathLst>
            </a:custGeom>
            <a:solidFill>
              <a:srgbClr val="736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2036B2B1-47F3-48C7-B315-1C84BE099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3776" y="2155825"/>
              <a:ext cx="393700" cy="565150"/>
            </a:xfrm>
            <a:custGeom>
              <a:avLst/>
              <a:gdLst>
                <a:gd name="T0" fmla="*/ 61 w 131"/>
                <a:gd name="T1" fmla="*/ 188 h 189"/>
                <a:gd name="T2" fmla="*/ 131 w 131"/>
                <a:gd name="T3" fmla="*/ 163 h 189"/>
                <a:gd name="T4" fmla="*/ 119 w 131"/>
                <a:gd name="T5" fmla="*/ 42 h 189"/>
                <a:gd name="T6" fmla="*/ 71 w 131"/>
                <a:gd name="T7" fmla="*/ 2 h 189"/>
                <a:gd name="T8" fmla="*/ 16 w 131"/>
                <a:gd name="T9" fmla="*/ 63 h 189"/>
                <a:gd name="T10" fmla="*/ 0 w 131"/>
                <a:gd name="T11" fmla="*/ 173 h 189"/>
                <a:gd name="T12" fmla="*/ 61 w 131"/>
                <a:gd name="T13" fmla="*/ 18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89">
                  <a:moveTo>
                    <a:pt x="61" y="188"/>
                  </a:moveTo>
                  <a:cubicBezTo>
                    <a:pt x="91" y="187"/>
                    <a:pt x="131" y="163"/>
                    <a:pt x="131" y="163"/>
                  </a:cubicBezTo>
                  <a:cubicBezTo>
                    <a:pt x="131" y="163"/>
                    <a:pt x="125" y="66"/>
                    <a:pt x="119" y="42"/>
                  </a:cubicBezTo>
                  <a:cubicBezTo>
                    <a:pt x="113" y="19"/>
                    <a:pt x="103" y="0"/>
                    <a:pt x="71" y="2"/>
                  </a:cubicBezTo>
                  <a:cubicBezTo>
                    <a:pt x="40" y="5"/>
                    <a:pt x="22" y="31"/>
                    <a:pt x="16" y="63"/>
                  </a:cubicBezTo>
                  <a:cubicBezTo>
                    <a:pt x="10" y="96"/>
                    <a:pt x="0" y="173"/>
                    <a:pt x="0" y="173"/>
                  </a:cubicBezTo>
                  <a:cubicBezTo>
                    <a:pt x="0" y="173"/>
                    <a:pt x="20" y="189"/>
                    <a:pt x="61" y="188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AC1EC23-64C3-4B5C-A9CB-83946F193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4525963"/>
              <a:ext cx="74613" cy="139700"/>
            </a:xfrm>
            <a:custGeom>
              <a:avLst/>
              <a:gdLst>
                <a:gd name="T0" fmla="*/ 47 w 47"/>
                <a:gd name="T1" fmla="*/ 7 h 88"/>
                <a:gd name="T2" fmla="*/ 37 w 47"/>
                <a:gd name="T3" fmla="*/ 88 h 88"/>
                <a:gd name="T4" fmla="*/ 0 w 47"/>
                <a:gd name="T5" fmla="*/ 88 h 88"/>
                <a:gd name="T6" fmla="*/ 0 w 47"/>
                <a:gd name="T7" fmla="*/ 0 h 88"/>
                <a:gd name="T8" fmla="*/ 47 w 47"/>
                <a:gd name="T9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88">
                  <a:moveTo>
                    <a:pt x="47" y="7"/>
                  </a:moveTo>
                  <a:lnTo>
                    <a:pt x="37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47" y="7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CA57A72-4D7F-4249-9C65-BF89E4E50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4525963"/>
              <a:ext cx="74613" cy="139700"/>
            </a:xfrm>
            <a:custGeom>
              <a:avLst/>
              <a:gdLst>
                <a:gd name="T0" fmla="*/ 47 w 47"/>
                <a:gd name="T1" fmla="*/ 7 h 88"/>
                <a:gd name="T2" fmla="*/ 37 w 47"/>
                <a:gd name="T3" fmla="*/ 88 h 88"/>
                <a:gd name="T4" fmla="*/ 0 w 47"/>
                <a:gd name="T5" fmla="*/ 88 h 88"/>
                <a:gd name="T6" fmla="*/ 0 w 47"/>
                <a:gd name="T7" fmla="*/ 0 h 88"/>
                <a:gd name="T8" fmla="*/ 47 w 47"/>
                <a:gd name="T9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88">
                  <a:moveTo>
                    <a:pt x="47" y="7"/>
                  </a:moveTo>
                  <a:lnTo>
                    <a:pt x="37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47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5EDB01A2-BB7E-405E-BB72-A39E648D1B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4581525"/>
              <a:ext cx="255588" cy="114300"/>
            </a:xfrm>
            <a:custGeom>
              <a:avLst/>
              <a:gdLst>
                <a:gd name="T0" fmla="*/ 85 w 85"/>
                <a:gd name="T1" fmla="*/ 17 h 38"/>
                <a:gd name="T2" fmla="*/ 85 w 85"/>
                <a:gd name="T3" fmla="*/ 38 h 38"/>
                <a:gd name="T4" fmla="*/ 0 w 85"/>
                <a:gd name="T5" fmla="*/ 38 h 38"/>
                <a:gd name="T6" fmla="*/ 14 w 85"/>
                <a:gd name="T7" fmla="*/ 19 h 38"/>
                <a:gd name="T8" fmla="*/ 45 w 85"/>
                <a:gd name="T9" fmla="*/ 17 h 38"/>
                <a:gd name="T10" fmla="*/ 55 w 85"/>
                <a:gd name="T11" fmla="*/ 0 h 38"/>
                <a:gd name="T12" fmla="*/ 85 w 85"/>
                <a:gd name="T13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38">
                  <a:moveTo>
                    <a:pt x="85" y="17"/>
                  </a:moveTo>
                  <a:cubicBezTo>
                    <a:pt x="85" y="38"/>
                    <a:pt x="85" y="38"/>
                    <a:pt x="85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3" y="21"/>
                    <a:pt x="14" y="19"/>
                  </a:cubicBezTo>
                  <a:cubicBezTo>
                    <a:pt x="25" y="17"/>
                    <a:pt x="39" y="23"/>
                    <a:pt x="45" y="17"/>
                  </a:cubicBezTo>
                  <a:cubicBezTo>
                    <a:pt x="51" y="11"/>
                    <a:pt x="55" y="0"/>
                    <a:pt x="55" y="0"/>
                  </a:cubicBezTo>
                  <a:cubicBezTo>
                    <a:pt x="55" y="0"/>
                    <a:pt x="75" y="16"/>
                    <a:pt x="85" y="17"/>
                  </a:cubicBezTo>
                  <a:close/>
                </a:path>
              </a:pathLst>
            </a:custGeom>
            <a:solidFill>
              <a:srgbClr val="4B4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A8789ACC-9F68-460D-ACDF-DDE84FEE4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5326" y="4525963"/>
              <a:ext cx="76200" cy="139700"/>
            </a:xfrm>
            <a:custGeom>
              <a:avLst/>
              <a:gdLst>
                <a:gd name="T0" fmla="*/ 48 w 48"/>
                <a:gd name="T1" fmla="*/ 7 h 88"/>
                <a:gd name="T2" fmla="*/ 38 w 48"/>
                <a:gd name="T3" fmla="*/ 88 h 88"/>
                <a:gd name="T4" fmla="*/ 0 w 48"/>
                <a:gd name="T5" fmla="*/ 88 h 88"/>
                <a:gd name="T6" fmla="*/ 0 w 48"/>
                <a:gd name="T7" fmla="*/ 0 h 88"/>
                <a:gd name="T8" fmla="*/ 48 w 48"/>
                <a:gd name="T9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88">
                  <a:moveTo>
                    <a:pt x="48" y="7"/>
                  </a:moveTo>
                  <a:lnTo>
                    <a:pt x="38" y="88"/>
                  </a:lnTo>
                  <a:lnTo>
                    <a:pt x="0" y="88"/>
                  </a:lnTo>
                  <a:lnTo>
                    <a:pt x="0" y="0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8D10BD15-0ACC-47B7-8435-484D1E2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513" y="3049588"/>
              <a:ext cx="733425" cy="1547813"/>
            </a:xfrm>
            <a:custGeom>
              <a:avLst/>
              <a:gdLst>
                <a:gd name="T0" fmla="*/ 210 w 244"/>
                <a:gd name="T1" fmla="*/ 5 h 518"/>
                <a:gd name="T2" fmla="*/ 112 w 244"/>
                <a:gd name="T3" fmla="*/ 0 h 518"/>
                <a:gd name="T4" fmla="*/ 114 w 244"/>
                <a:gd name="T5" fmla="*/ 12 h 518"/>
                <a:gd name="T6" fmla="*/ 79 w 244"/>
                <a:gd name="T7" fmla="*/ 88 h 518"/>
                <a:gd name="T8" fmla="*/ 0 w 244"/>
                <a:gd name="T9" fmla="*/ 500 h 518"/>
                <a:gd name="T10" fmla="*/ 40 w 244"/>
                <a:gd name="T11" fmla="*/ 518 h 518"/>
                <a:gd name="T12" fmla="*/ 152 w 244"/>
                <a:gd name="T13" fmla="*/ 121 h 518"/>
                <a:gd name="T14" fmla="*/ 160 w 244"/>
                <a:gd name="T15" fmla="*/ 121 h 518"/>
                <a:gd name="T16" fmla="*/ 184 w 244"/>
                <a:gd name="T17" fmla="*/ 507 h 518"/>
                <a:gd name="T18" fmla="*/ 227 w 244"/>
                <a:gd name="T19" fmla="*/ 507 h 518"/>
                <a:gd name="T20" fmla="*/ 243 w 244"/>
                <a:gd name="T21" fmla="*/ 108 h 518"/>
                <a:gd name="T22" fmla="*/ 205 w 244"/>
                <a:gd name="T23" fmla="*/ 19 h 518"/>
                <a:gd name="T24" fmla="*/ 210 w 244"/>
                <a:gd name="T25" fmla="*/ 5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4" h="518">
                  <a:moveTo>
                    <a:pt x="210" y="5"/>
                  </a:moveTo>
                  <a:cubicBezTo>
                    <a:pt x="112" y="0"/>
                    <a:pt x="112" y="0"/>
                    <a:pt x="112" y="0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114" y="12"/>
                    <a:pt x="91" y="55"/>
                    <a:pt x="79" y="88"/>
                  </a:cubicBezTo>
                  <a:cubicBezTo>
                    <a:pt x="66" y="121"/>
                    <a:pt x="0" y="500"/>
                    <a:pt x="0" y="500"/>
                  </a:cubicBezTo>
                  <a:cubicBezTo>
                    <a:pt x="40" y="518"/>
                    <a:pt x="40" y="518"/>
                    <a:pt x="40" y="518"/>
                  </a:cubicBezTo>
                  <a:cubicBezTo>
                    <a:pt x="152" y="121"/>
                    <a:pt x="152" y="121"/>
                    <a:pt x="152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84" y="507"/>
                    <a:pt x="184" y="507"/>
                    <a:pt x="184" y="507"/>
                  </a:cubicBezTo>
                  <a:cubicBezTo>
                    <a:pt x="227" y="507"/>
                    <a:pt x="227" y="507"/>
                    <a:pt x="227" y="507"/>
                  </a:cubicBezTo>
                  <a:cubicBezTo>
                    <a:pt x="227" y="507"/>
                    <a:pt x="242" y="133"/>
                    <a:pt x="243" y="108"/>
                  </a:cubicBezTo>
                  <a:cubicBezTo>
                    <a:pt x="244" y="83"/>
                    <a:pt x="242" y="57"/>
                    <a:pt x="205" y="19"/>
                  </a:cubicBezTo>
                  <a:cubicBezTo>
                    <a:pt x="210" y="5"/>
                    <a:pt x="210" y="5"/>
                    <a:pt x="210" y="5"/>
                  </a:cubicBezTo>
                </a:path>
              </a:pathLst>
            </a:custGeom>
            <a:solidFill>
              <a:srgbClr val="5959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896131F8-B0A4-404E-9311-09DEBDA49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7901" y="3411538"/>
              <a:ext cx="150813" cy="528638"/>
            </a:xfrm>
            <a:custGeom>
              <a:avLst/>
              <a:gdLst>
                <a:gd name="T0" fmla="*/ 27 w 95"/>
                <a:gd name="T1" fmla="*/ 0 h 333"/>
                <a:gd name="T2" fmla="*/ 95 w 95"/>
                <a:gd name="T3" fmla="*/ 0 h 333"/>
                <a:gd name="T4" fmla="*/ 0 w 95"/>
                <a:gd name="T5" fmla="*/ 333 h 333"/>
                <a:gd name="T6" fmla="*/ 27 w 95"/>
                <a:gd name="T7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333">
                  <a:moveTo>
                    <a:pt x="27" y="0"/>
                  </a:moveTo>
                  <a:lnTo>
                    <a:pt x="95" y="0"/>
                  </a:lnTo>
                  <a:lnTo>
                    <a:pt x="0" y="333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8622F9FD-7BB0-4869-BE44-F91CB3F03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26" y="3411538"/>
              <a:ext cx="134938" cy="1152525"/>
            </a:xfrm>
            <a:custGeom>
              <a:avLst/>
              <a:gdLst>
                <a:gd name="T0" fmla="*/ 40 w 45"/>
                <a:gd name="T1" fmla="*/ 386 h 386"/>
                <a:gd name="T2" fmla="*/ 45 w 45"/>
                <a:gd name="T3" fmla="*/ 386 h 386"/>
                <a:gd name="T4" fmla="*/ 21 w 45"/>
                <a:gd name="T5" fmla="*/ 37 h 386"/>
                <a:gd name="T6" fmla="*/ 0 w 45"/>
                <a:gd name="T7" fmla="*/ 0 h 386"/>
                <a:gd name="T8" fmla="*/ 1 w 45"/>
                <a:gd name="T9" fmla="*/ 6 h 386"/>
                <a:gd name="T10" fmla="*/ 16 w 45"/>
                <a:gd name="T11" fmla="*/ 37 h 386"/>
                <a:gd name="T12" fmla="*/ 40 w 45"/>
                <a:gd name="T13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386">
                  <a:moveTo>
                    <a:pt x="40" y="386"/>
                  </a:moveTo>
                  <a:cubicBezTo>
                    <a:pt x="45" y="386"/>
                    <a:pt x="45" y="386"/>
                    <a:pt x="45" y="386"/>
                  </a:cubicBezTo>
                  <a:cubicBezTo>
                    <a:pt x="45" y="382"/>
                    <a:pt x="23" y="63"/>
                    <a:pt x="21" y="37"/>
                  </a:cubicBezTo>
                  <a:cubicBezTo>
                    <a:pt x="19" y="13"/>
                    <a:pt x="18" y="0"/>
                    <a:pt x="0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3" y="6"/>
                    <a:pt x="14" y="10"/>
                    <a:pt x="16" y="37"/>
                  </a:cubicBezTo>
                  <a:cubicBezTo>
                    <a:pt x="17" y="63"/>
                    <a:pt x="39" y="383"/>
                    <a:pt x="40" y="386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83F7B55E-B31E-4FBF-80BD-506791CBF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7713" y="3700463"/>
              <a:ext cx="266700" cy="881063"/>
            </a:xfrm>
            <a:custGeom>
              <a:avLst/>
              <a:gdLst>
                <a:gd name="T0" fmla="*/ 9 w 168"/>
                <a:gd name="T1" fmla="*/ 555 h 555"/>
                <a:gd name="T2" fmla="*/ 168 w 168"/>
                <a:gd name="T3" fmla="*/ 4 h 555"/>
                <a:gd name="T4" fmla="*/ 159 w 168"/>
                <a:gd name="T5" fmla="*/ 0 h 555"/>
                <a:gd name="T6" fmla="*/ 0 w 168"/>
                <a:gd name="T7" fmla="*/ 552 h 555"/>
                <a:gd name="T8" fmla="*/ 9 w 168"/>
                <a:gd name="T9" fmla="*/ 555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555">
                  <a:moveTo>
                    <a:pt x="9" y="555"/>
                  </a:moveTo>
                  <a:lnTo>
                    <a:pt x="168" y="4"/>
                  </a:lnTo>
                  <a:lnTo>
                    <a:pt x="159" y="0"/>
                  </a:lnTo>
                  <a:lnTo>
                    <a:pt x="0" y="552"/>
                  </a:lnTo>
                  <a:lnTo>
                    <a:pt x="9" y="55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CE09927A-461A-4B93-B57C-C9166B2EC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1726" y="3055938"/>
              <a:ext cx="14288" cy="355600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BA660B34-7D83-4709-BCEE-737B32E1F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938" y="4581525"/>
              <a:ext cx="255588" cy="114300"/>
            </a:xfrm>
            <a:custGeom>
              <a:avLst/>
              <a:gdLst>
                <a:gd name="T0" fmla="*/ 85 w 85"/>
                <a:gd name="T1" fmla="*/ 17 h 38"/>
                <a:gd name="T2" fmla="*/ 85 w 85"/>
                <a:gd name="T3" fmla="*/ 38 h 38"/>
                <a:gd name="T4" fmla="*/ 0 w 85"/>
                <a:gd name="T5" fmla="*/ 38 h 38"/>
                <a:gd name="T6" fmla="*/ 14 w 85"/>
                <a:gd name="T7" fmla="*/ 19 h 38"/>
                <a:gd name="T8" fmla="*/ 45 w 85"/>
                <a:gd name="T9" fmla="*/ 17 h 38"/>
                <a:gd name="T10" fmla="*/ 55 w 85"/>
                <a:gd name="T11" fmla="*/ 0 h 38"/>
                <a:gd name="T12" fmla="*/ 85 w 85"/>
                <a:gd name="T13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38">
                  <a:moveTo>
                    <a:pt x="85" y="17"/>
                  </a:moveTo>
                  <a:cubicBezTo>
                    <a:pt x="85" y="38"/>
                    <a:pt x="85" y="38"/>
                    <a:pt x="85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4" y="21"/>
                    <a:pt x="14" y="19"/>
                  </a:cubicBezTo>
                  <a:cubicBezTo>
                    <a:pt x="25" y="17"/>
                    <a:pt x="39" y="23"/>
                    <a:pt x="45" y="17"/>
                  </a:cubicBezTo>
                  <a:cubicBezTo>
                    <a:pt x="51" y="11"/>
                    <a:pt x="55" y="0"/>
                    <a:pt x="55" y="0"/>
                  </a:cubicBezTo>
                  <a:cubicBezTo>
                    <a:pt x="55" y="0"/>
                    <a:pt x="75" y="16"/>
                    <a:pt x="85" y="17"/>
                  </a:cubicBezTo>
                  <a:close/>
                </a:path>
              </a:pathLst>
            </a:custGeom>
            <a:solidFill>
              <a:srgbClr val="4B4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FC80600F-5DDC-439A-AA60-94C73ECEC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3059113"/>
              <a:ext cx="198438" cy="1504950"/>
            </a:xfrm>
            <a:custGeom>
              <a:avLst/>
              <a:gdLst>
                <a:gd name="T0" fmla="*/ 0 w 66"/>
                <a:gd name="T1" fmla="*/ 0 h 504"/>
                <a:gd name="T2" fmla="*/ 31 w 66"/>
                <a:gd name="T3" fmla="*/ 504 h 504"/>
                <a:gd name="T4" fmla="*/ 49 w 66"/>
                <a:gd name="T5" fmla="*/ 504 h 504"/>
                <a:gd name="T6" fmla="*/ 65 w 66"/>
                <a:gd name="T7" fmla="*/ 105 h 504"/>
                <a:gd name="T8" fmla="*/ 66 w 66"/>
                <a:gd name="T9" fmla="*/ 98 h 504"/>
                <a:gd name="T10" fmla="*/ 27 w 66"/>
                <a:gd name="T11" fmla="*/ 16 h 504"/>
                <a:gd name="T12" fmla="*/ 27 w 66"/>
                <a:gd name="T13" fmla="*/ 16 h 504"/>
                <a:gd name="T14" fmla="*/ 27 w 66"/>
                <a:gd name="T15" fmla="*/ 16 h 504"/>
                <a:gd name="T16" fmla="*/ 32 w 66"/>
                <a:gd name="T17" fmla="*/ 2 h 504"/>
                <a:gd name="T18" fmla="*/ 0 w 66"/>
                <a:gd name="T19" fmla="*/ 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504">
                  <a:moveTo>
                    <a:pt x="0" y="0"/>
                  </a:moveTo>
                  <a:cubicBezTo>
                    <a:pt x="31" y="504"/>
                    <a:pt x="31" y="504"/>
                    <a:pt x="31" y="504"/>
                  </a:cubicBezTo>
                  <a:cubicBezTo>
                    <a:pt x="49" y="504"/>
                    <a:pt x="49" y="504"/>
                    <a:pt x="49" y="504"/>
                  </a:cubicBezTo>
                  <a:cubicBezTo>
                    <a:pt x="49" y="504"/>
                    <a:pt x="64" y="130"/>
                    <a:pt x="65" y="105"/>
                  </a:cubicBezTo>
                  <a:cubicBezTo>
                    <a:pt x="65" y="103"/>
                    <a:pt x="66" y="100"/>
                    <a:pt x="66" y="98"/>
                  </a:cubicBezTo>
                  <a:cubicBezTo>
                    <a:pt x="66" y="75"/>
                    <a:pt x="61" y="50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242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1AB19CB5-F4F0-4432-9F75-22C03BE50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613" y="2535238"/>
              <a:ext cx="423863" cy="571500"/>
            </a:xfrm>
            <a:custGeom>
              <a:avLst/>
              <a:gdLst>
                <a:gd name="T0" fmla="*/ 108 w 141"/>
                <a:gd name="T1" fmla="*/ 191 h 191"/>
                <a:gd name="T2" fmla="*/ 17 w 141"/>
                <a:gd name="T3" fmla="*/ 184 h 191"/>
                <a:gd name="T4" fmla="*/ 0 w 141"/>
                <a:gd name="T5" fmla="*/ 69 h 191"/>
                <a:gd name="T6" fmla="*/ 37 w 141"/>
                <a:gd name="T7" fmla="*/ 5 h 191"/>
                <a:gd name="T8" fmla="*/ 85 w 141"/>
                <a:gd name="T9" fmla="*/ 5 h 191"/>
                <a:gd name="T10" fmla="*/ 136 w 141"/>
                <a:gd name="T11" fmla="*/ 41 h 191"/>
                <a:gd name="T12" fmla="*/ 108 w 141"/>
                <a:gd name="T13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191">
                  <a:moveTo>
                    <a:pt x="108" y="191"/>
                  </a:moveTo>
                  <a:cubicBezTo>
                    <a:pt x="108" y="191"/>
                    <a:pt x="38" y="184"/>
                    <a:pt x="17" y="184"/>
                  </a:cubicBezTo>
                  <a:cubicBezTo>
                    <a:pt x="17" y="184"/>
                    <a:pt x="2" y="86"/>
                    <a:pt x="0" y="69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66" y="0"/>
                    <a:pt x="85" y="5"/>
                  </a:cubicBezTo>
                  <a:cubicBezTo>
                    <a:pt x="105" y="11"/>
                    <a:pt x="130" y="15"/>
                    <a:pt x="136" y="41"/>
                  </a:cubicBezTo>
                  <a:cubicBezTo>
                    <a:pt x="141" y="68"/>
                    <a:pt x="125" y="140"/>
                    <a:pt x="108" y="191"/>
                  </a:cubicBezTo>
                  <a:close/>
                </a:path>
              </a:pathLst>
            </a:custGeom>
            <a:solidFill>
              <a:srgbClr val="A19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D06ABC12-F7DF-45EC-BC76-C469E93AE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781300"/>
              <a:ext cx="134938" cy="271463"/>
            </a:xfrm>
            <a:custGeom>
              <a:avLst/>
              <a:gdLst>
                <a:gd name="T0" fmla="*/ 29 w 45"/>
                <a:gd name="T1" fmla="*/ 91 h 91"/>
                <a:gd name="T2" fmla="*/ 5 w 45"/>
                <a:gd name="T3" fmla="*/ 45 h 91"/>
                <a:gd name="T4" fmla="*/ 24 w 45"/>
                <a:gd name="T5" fmla="*/ 4 h 91"/>
                <a:gd name="T6" fmla="*/ 45 w 45"/>
                <a:gd name="T7" fmla="*/ 27 h 91"/>
                <a:gd name="T8" fmla="*/ 29 w 45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91">
                  <a:moveTo>
                    <a:pt x="29" y="91"/>
                  </a:moveTo>
                  <a:cubicBezTo>
                    <a:pt x="22" y="81"/>
                    <a:pt x="9" y="64"/>
                    <a:pt x="5" y="45"/>
                  </a:cubicBezTo>
                  <a:cubicBezTo>
                    <a:pt x="0" y="18"/>
                    <a:pt x="24" y="4"/>
                    <a:pt x="24" y="4"/>
                  </a:cubicBezTo>
                  <a:cubicBezTo>
                    <a:pt x="30" y="0"/>
                    <a:pt x="38" y="13"/>
                    <a:pt x="45" y="27"/>
                  </a:cubicBezTo>
                  <a:cubicBezTo>
                    <a:pt x="41" y="48"/>
                    <a:pt x="35" y="70"/>
                    <a:pt x="29" y="91"/>
                  </a:cubicBezTo>
                  <a:close/>
                </a:path>
              </a:pathLst>
            </a:custGeom>
            <a:solidFill>
              <a:srgbClr val="736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DAD21576-480C-4C76-BB09-B5A43CAAC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3" y="2538413"/>
              <a:ext cx="195263" cy="93663"/>
            </a:xfrm>
            <a:custGeom>
              <a:avLst/>
              <a:gdLst>
                <a:gd name="T0" fmla="*/ 26 w 65"/>
                <a:gd name="T1" fmla="*/ 26 h 31"/>
                <a:gd name="T2" fmla="*/ 0 w 65"/>
                <a:gd name="T3" fmla="*/ 4 h 31"/>
                <a:gd name="T4" fmla="*/ 45 w 65"/>
                <a:gd name="T5" fmla="*/ 4 h 31"/>
                <a:gd name="T6" fmla="*/ 65 w 65"/>
                <a:gd name="T7" fmla="*/ 10 h 31"/>
                <a:gd name="T8" fmla="*/ 26 w 65"/>
                <a:gd name="T9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1">
                  <a:moveTo>
                    <a:pt x="26" y="26"/>
                  </a:moveTo>
                  <a:cubicBezTo>
                    <a:pt x="11" y="23"/>
                    <a:pt x="3" y="12"/>
                    <a:pt x="0" y="4"/>
                  </a:cubicBezTo>
                  <a:cubicBezTo>
                    <a:pt x="8" y="3"/>
                    <a:pt x="30" y="0"/>
                    <a:pt x="45" y="4"/>
                  </a:cubicBezTo>
                  <a:cubicBezTo>
                    <a:pt x="52" y="6"/>
                    <a:pt x="58" y="8"/>
                    <a:pt x="65" y="10"/>
                  </a:cubicBezTo>
                  <a:cubicBezTo>
                    <a:pt x="58" y="20"/>
                    <a:pt x="44" y="31"/>
                    <a:pt x="26" y="26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FF11370E-4DDA-4084-9D88-BD0F47F85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1" y="2338388"/>
              <a:ext cx="134938" cy="242888"/>
            </a:xfrm>
            <a:custGeom>
              <a:avLst/>
              <a:gdLst>
                <a:gd name="T0" fmla="*/ 85 w 85"/>
                <a:gd name="T1" fmla="*/ 153 h 153"/>
                <a:gd name="T2" fmla="*/ 72 w 85"/>
                <a:gd name="T3" fmla="*/ 0 h 153"/>
                <a:gd name="T4" fmla="*/ 0 w 85"/>
                <a:gd name="T5" fmla="*/ 8 h 153"/>
                <a:gd name="T6" fmla="*/ 10 w 85"/>
                <a:gd name="T7" fmla="*/ 145 h 153"/>
                <a:gd name="T8" fmla="*/ 85 w 85"/>
                <a:gd name="T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3">
                  <a:moveTo>
                    <a:pt x="85" y="153"/>
                  </a:moveTo>
                  <a:lnTo>
                    <a:pt x="72" y="0"/>
                  </a:lnTo>
                  <a:lnTo>
                    <a:pt x="0" y="8"/>
                  </a:lnTo>
                  <a:lnTo>
                    <a:pt x="10" y="145"/>
                  </a:lnTo>
                  <a:lnTo>
                    <a:pt x="85" y="153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1337FFF6-A651-4683-BEA0-EB01C3E9F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1" y="2338388"/>
              <a:ext cx="128588" cy="195263"/>
            </a:xfrm>
            <a:custGeom>
              <a:avLst/>
              <a:gdLst>
                <a:gd name="T0" fmla="*/ 0 w 43"/>
                <a:gd name="T1" fmla="*/ 4 h 65"/>
                <a:gd name="T2" fmla="*/ 38 w 43"/>
                <a:gd name="T3" fmla="*/ 0 h 65"/>
                <a:gd name="T4" fmla="*/ 40 w 43"/>
                <a:gd name="T5" fmla="*/ 22 h 65"/>
                <a:gd name="T6" fmla="*/ 5 w 43"/>
                <a:gd name="T7" fmla="*/ 65 h 65"/>
                <a:gd name="T8" fmla="*/ 0 w 43"/>
                <a:gd name="T9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65">
                  <a:moveTo>
                    <a:pt x="0" y="4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3" y="62"/>
                    <a:pt x="5" y="65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5DCD0054-5B78-4A97-B7D8-B8A02BAFB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6" y="2171700"/>
              <a:ext cx="239713" cy="274638"/>
            </a:xfrm>
            <a:custGeom>
              <a:avLst/>
              <a:gdLst>
                <a:gd name="T0" fmla="*/ 58 w 80"/>
                <a:gd name="T1" fmla="*/ 78 h 92"/>
                <a:gd name="T2" fmla="*/ 13 w 80"/>
                <a:gd name="T3" fmla="*/ 90 h 92"/>
                <a:gd name="T4" fmla="*/ 1 w 80"/>
                <a:gd name="T5" fmla="*/ 60 h 92"/>
                <a:gd name="T6" fmla="*/ 48 w 80"/>
                <a:gd name="T7" fmla="*/ 19 h 92"/>
                <a:gd name="T8" fmla="*/ 58 w 80"/>
                <a:gd name="T9" fmla="*/ 7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92">
                  <a:moveTo>
                    <a:pt x="58" y="78"/>
                  </a:moveTo>
                  <a:cubicBezTo>
                    <a:pt x="50" y="86"/>
                    <a:pt x="27" y="92"/>
                    <a:pt x="13" y="90"/>
                  </a:cubicBezTo>
                  <a:cubicBezTo>
                    <a:pt x="0" y="87"/>
                    <a:pt x="0" y="78"/>
                    <a:pt x="1" y="60"/>
                  </a:cubicBezTo>
                  <a:cubicBezTo>
                    <a:pt x="2" y="42"/>
                    <a:pt x="15" y="0"/>
                    <a:pt x="48" y="19"/>
                  </a:cubicBezTo>
                  <a:cubicBezTo>
                    <a:pt x="80" y="37"/>
                    <a:pt x="68" y="68"/>
                    <a:pt x="58" y="78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46EA9512-528B-4BB3-9F08-288B90FD6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6" y="2344738"/>
              <a:ext cx="76200" cy="80963"/>
            </a:xfrm>
            <a:custGeom>
              <a:avLst/>
              <a:gdLst>
                <a:gd name="T0" fmla="*/ 4 w 25"/>
                <a:gd name="T1" fmla="*/ 7 h 27"/>
                <a:gd name="T2" fmla="*/ 19 w 25"/>
                <a:gd name="T3" fmla="*/ 5 h 27"/>
                <a:gd name="T4" fmla="*/ 19 w 25"/>
                <a:gd name="T5" fmla="*/ 19 h 27"/>
                <a:gd name="T6" fmla="*/ 4 w 25"/>
                <a:gd name="T7" fmla="*/ 19 h 27"/>
                <a:gd name="T8" fmla="*/ 4 w 25"/>
                <a:gd name="T9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7">
                  <a:moveTo>
                    <a:pt x="4" y="7"/>
                  </a:moveTo>
                  <a:cubicBezTo>
                    <a:pt x="9" y="1"/>
                    <a:pt x="14" y="0"/>
                    <a:pt x="19" y="5"/>
                  </a:cubicBezTo>
                  <a:cubicBezTo>
                    <a:pt x="25" y="10"/>
                    <a:pt x="25" y="12"/>
                    <a:pt x="19" y="19"/>
                  </a:cubicBezTo>
                  <a:cubicBezTo>
                    <a:pt x="13" y="27"/>
                    <a:pt x="6" y="23"/>
                    <a:pt x="4" y="19"/>
                  </a:cubicBezTo>
                  <a:cubicBezTo>
                    <a:pt x="1" y="16"/>
                    <a:pt x="0" y="10"/>
                    <a:pt x="4" y="7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42BCC2D7-325E-4B82-9AE6-4F843384A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851" y="2359025"/>
              <a:ext cx="47625" cy="26988"/>
            </a:xfrm>
            <a:custGeom>
              <a:avLst/>
              <a:gdLst>
                <a:gd name="T0" fmla="*/ 0 w 16"/>
                <a:gd name="T1" fmla="*/ 9 h 9"/>
                <a:gd name="T2" fmla="*/ 1 w 16"/>
                <a:gd name="T3" fmla="*/ 9 h 9"/>
                <a:gd name="T4" fmla="*/ 8 w 16"/>
                <a:gd name="T5" fmla="*/ 8 h 9"/>
                <a:gd name="T6" fmla="*/ 10 w 16"/>
                <a:gd name="T7" fmla="*/ 9 h 9"/>
                <a:gd name="T8" fmla="*/ 12 w 16"/>
                <a:gd name="T9" fmla="*/ 9 h 9"/>
                <a:gd name="T10" fmla="*/ 9 w 16"/>
                <a:gd name="T11" fmla="*/ 6 h 9"/>
                <a:gd name="T12" fmla="*/ 3 w 16"/>
                <a:gd name="T13" fmla="*/ 6 h 9"/>
                <a:gd name="T14" fmla="*/ 11 w 16"/>
                <a:gd name="T15" fmla="*/ 2 h 9"/>
                <a:gd name="T16" fmla="*/ 14 w 16"/>
                <a:gd name="T17" fmla="*/ 7 h 9"/>
                <a:gd name="T18" fmla="*/ 16 w 16"/>
                <a:gd name="T19" fmla="*/ 8 h 9"/>
                <a:gd name="T20" fmla="*/ 12 w 16"/>
                <a:gd name="T21" fmla="*/ 1 h 9"/>
                <a:gd name="T22" fmla="*/ 0 w 16"/>
                <a:gd name="T23" fmla="*/ 8 h 9"/>
                <a:gd name="T24" fmla="*/ 0 w 16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9">
                  <a:moveTo>
                    <a:pt x="0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2" y="8"/>
                    <a:pt x="6" y="7"/>
                    <a:pt x="8" y="8"/>
                  </a:cubicBezTo>
                  <a:cubicBezTo>
                    <a:pt x="9" y="8"/>
                    <a:pt x="10" y="9"/>
                    <a:pt x="10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8"/>
                    <a:pt x="10" y="7"/>
                    <a:pt x="9" y="6"/>
                  </a:cubicBezTo>
                  <a:cubicBezTo>
                    <a:pt x="7" y="5"/>
                    <a:pt x="5" y="6"/>
                    <a:pt x="3" y="6"/>
                  </a:cubicBezTo>
                  <a:cubicBezTo>
                    <a:pt x="7" y="2"/>
                    <a:pt x="10" y="2"/>
                    <a:pt x="11" y="2"/>
                  </a:cubicBezTo>
                  <a:cubicBezTo>
                    <a:pt x="14" y="3"/>
                    <a:pt x="15" y="6"/>
                    <a:pt x="14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5"/>
                    <a:pt x="15" y="2"/>
                    <a:pt x="12" y="1"/>
                  </a:cubicBezTo>
                  <a:cubicBezTo>
                    <a:pt x="10" y="0"/>
                    <a:pt x="6" y="0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52EF4E01-F32D-4E87-B075-4036DA792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2308225"/>
              <a:ext cx="14288" cy="12700"/>
            </a:xfrm>
            <a:custGeom>
              <a:avLst/>
              <a:gdLst>
                <a:gd name="T0" fmla="*/ 1 w 5"/>
                <a:gd name="T1" fmla="*/ 2 h 4"/>
                <a:gd name="T2" fmla="*/ 3 w 5"/>
                <a:gd name="T3" fmla="*/ 0 h 4"/>
                <a:gd name="T4" fmla="*/ 5 w 5"/>
                <a:gd name="T5" fmla="*/ 2 h 4"/>
                <a:gd name="T6" fmla="*/ 2 w 5"/>
                <a:gd name="T7" fmla="*/ 4 h 4"/>
                <a:gd name="T8" fmla="*/ 1 w 5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1" y="2"/>
                  </a:move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3"/>
                    <a:pt x="4" y="4"/>
                    <a:pt x="2" y="4"/>
                  </a:cubicBezTo>
                  <a:cubicBezTo>
                    <a:pt x="1" y="4"/>
                    <a:pt x="0" y="3"/>
                    <a:pt x="1" y="2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FF971B5C-04FC-4452-95BF-A3DE885ED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7913" y="2293938"/>
              <a:ext cx="11113" cy="14288"/>
            </a:xfrm>
            <a:custGeom>
              <a:avLst/>
              <a:gdLst>
                <a:gd name="T0" fmla="*/ 0 w 4"/>
                <a:gd name="T1" fmla="*/ 2 h 5"/>
                <a:gd name="T2" fmla="*/ 2 w 4"/>
                <a:gd name="T3" fmla="*/ 1 h 5"/>
                <a:gd name="T4" fmla="*/ 4 w 4"/>
                <a:gd name="T5" fmla="*/ 3 h 5"/>
                <a:gd name="T6" fmla="*/ 2 w 4"/>
                <a:gd name="T7" fmla="*/ 5 h 5"/>
                <a:gd name="T8" fmla="*/ 0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cubicBezTo>
                    <a:pt x="0" y="1"/>
                    <a:pt x="1" y="0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4" y="4"/>
                    <a:pt x="3" y="5"/>
                    <a:pt x="2" y="5"/>
                  </a:cubicBezTo>
                  <a:cubicBezTo>
                    <a:pt x="0" y="5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2">
              <a:extLst>
                <a:ext uri="{FF2B5EF4-FFF2-40B4-BE49-F238E27FC236}">
                  <a16:creationId xmlns:a16="http://schemas.microsoft.com/office/drawing/2014/main" id="{2B63965E-F849-493D-8611-C3FFBF8D6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8388" y="2300288"/>
              <a:ext cx="33338" cy="57150"/>
            </a:xfrm>
            <a:custGeom>
              <a:avLst/>
              <a:gdLst>
                <a:gd name="T0" fmla="*/ 6 w 11"/>
                <a:gd name="T1" fmla="*/ 19 h 19"/>
                <a:gd name="T2" fmla="*/ 7 w 11"/>
                <a:gd name="T3" fmla="*/ 19 h 19"/>
                <a:gd name="T4" fmla="*/ 9 w 11"/>
                <a:gd name="T5" fmla="*/ 18 h 19"/>
                <a:gd name="T6" fmla="*/ 8 w 11"/>
                <a:gd name="T7" fmla="*/ 17 h 19"/>
                <a:gd name="T8" fmla="*/ 3 w 11"/>
                <a:gd name="T9" fmla="*/ 15 h 19"/>
                <a:gd name="T10" fmla="*/ 3 w 11"/>
                <a:gd name="T11" fmla="*/ 15 h 19"/>
                <a:gd name="T12" fmla="*/ 11 w 11"/>
                <a:gd name="T13" fmla="*/ 2 h 19"/>
                <a:gd name="T14" fmla="*/ 10 w 11"/>
                <a:gd name="T15" fmla="*/ 0 h 19"/>
                <a:gd name="T16" fmla="*/ 9 w 11"/>
                <a:gd name="T17" fmla="*/ 1 h 19"/>
                <a:gd name="T18" fmla="*/ 1 w 11"/>
                <a:gd name="T19" fmla="*/ 14 h 19"/>
                <a:gd name="T20" fmla="*/ 1 w 11"/>
                <a:gd name="T21" fmla="*/ 16 h 19"/>
                <a:gd name="T22" fmla="*/ 6 w 11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9">
                  <a:moveTo>
                    <a:pt x="6" y="19"/>
                  </a:move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9" y="19"/>
                    <a:pt x="9" y="18"/>
                  </a:cubicBezTo>
                  <a:cubicBezTo>
                    <a:pt x="9" y="17"/>
                    <a:pt x="8" y="17"/>
                    <a:pt x="8" y="17"/>
                  </a:cubicBezTo>
                  <a:cubicBezTo>
                    <a:pt x="5" y="17"/>
                    <a:pt x="3" y="16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3"/>
                    <a:pt x="10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ubicBezTo>
                    <a:pt x="10" y="0"/>
                    <a:pt x="9" y="0"/>
                    <a:pt x="9" y="1"/>
                  </a:cubicBezTo>
                  <a:cubicBezTo>
                    <a:pt x="9" y="1"/>
                    <a:pt x="2" y="12"/>
                    <a:pt x="1" y="14"/>
                  </a:cubicBezTo>
                  <a:cubicBezTo>
                    <a:pt x="0" y="15"/>
                    <a:pt x="0" y="16"/>
                    <a:pt x="1" y="16"/>
                  </a:cubicBezTo>
                  <a:cubicBezTo>
                    <a:pt x="2" y="18"/>
                    <a:pt x="4" y="19"/>
                    <a:pt x="6" y="19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2694698B-25D5-4A5E-9094-95A075D5A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2368550"/>
              <a:ext cx="63500" cy="14288"/>
            </a:xfrm>
            <a:custGeom>
              <a:avLst/>
              <a:gdLst>
                <a:gd name="T0" fmla="*/ 9 w 21"/>
                <a:gd name="T1" fmla="*/ 5 h 5"/>
                <a:gd name="T2" fmla="*/ 20 w 21"/>
                <a:gd name="T3" fmla="*/ 3 h 5"/>
                <a:gd name="T4" fmla="*/ 20 w 21"/>
                <a:gd name="T5" fmla="*/ 2 h 5"/>
                <a:gd name="T6" fmla="*/ 19 w 21"/>
                <a:gd name="T7" fmla="*/ 1 h 5"/>
                <a:gd name="T8" fmla="*/ 3 w 21"/>
                <a:gd name="T9" fmla="*/ 1 h 5"/>
                <a:gd name="T10" fmla="*/ 1 w 21"/>
                <a:gd name="T11" fmla="*/ 1 h 5"/>
                <a:gd name="T12" fmla="*/ 1 w 21"/>
                <a:gd name="T13" fmla="*/ 2 h 5"/>
                <a:gd name="T14" fmla="*/ 9 w 21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">
                  <a:moveTo>
                    <a:pt x="9" y="5"/>
                  </a:moveTo>
                  <a:cubicBezTo>
                    <a:pt x="13" y="5"/>
                    <a:pt x="17" y="4"/>
                    <a:pt x="20" y="3"/>
                  </a:cubicBezTo>
                  <a:cubicBezTo>
                    <a:pt x="20" y="3"/>
                    <a:pt x="21" y="2"/>
                    <a:pt x="20" y="2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4" y="3"/>
                    <a:pt x="5" y="4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2" y="5"/>
                    <a:pt x="6" y="5"/>
                    <a:pt x="9" y="5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10092912-ACB4-4073-B5C9-1AC421AC4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6" y="2178050"/>
              <a:ext cx="252413" cy="196850"/>
            </a:xfrm>
            <a:custGeom>
              <a:avLst/>
              <a:gdLst>
                <a:gd name="T0" fmla="*/ 49 w 84"/>
                <a:gd name="T1" fmla="*/ 6 h 66"/>
                <a:gd name="T2" fmla="*/ 0 w 84"/>
                <a:gd name="T3" fmla="*/ 30 h 66"/>
                <a:gd name="T4" fmla="*/ 42 w 84"/>
                <a:gd name="T5" fmla="*/ 42 h 66"/>
                <a:gd name="T6" fmla="*/ 48 w 84"/>
                <a:gd name="T7" fmla="*/ 25 h 66"/>
                <a:gd name="T8" fmla="*/ 49 w 84"/>
                <a:gd name="T9" fmla="*/ 43 h 66"/>
                <a:gd name="T10" fmla="*/ 58 w 84"/>
                <a:gd name="T11" fmla="*/ 44 h 66"/>
                <a:gd name="T12" fmla="*/ 72 w 84"/>
                <a:gd name="T13" fmla="*/ 61 h 66"/>
                <a:gd name="T14" fmla="*/ 49 w 84"/>
                <a:gd name="T15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66">
                  <a:moveTo>
                    <a:pt x="49" y="6"/>
                  </a:moveTo>
                  <a:cubicBezTo>
                    <a:pt x="20" y="0"/>
                    <a:pt x="6" y="15"/>
                    <a:pt x="0" y="30"/>
                  </a:cubicBezTo>
                  <a:cubicBezTo>
                    <a:pt x="4" y="35"/>
                    <a:pt x="26" y="40"/>
                    <a:pt x="42" y="42"/>
                  </a:cubicBezTo>
                  <a:cubicBezTo>
                    <a:pt x="45" y="37"/>
                    <a:pt x="49" y="29"/>
                    <a:pt x="48" y="25"/>
                  </a:cubicBezTo>
                  <a:cubicBezTo>
                    <a:pt x="48" y="25"/>
                    <a:pt x="50" y="35"/>
                    <a:pt x="49" y="43"/>
                  </a:cubicBezTo>
                  <a:cubicBezTo>
                    <a:pt x="54" y="43"/>
                    <a:pt x="58" y="44"/>
                    <a:pt x="58" y="44"/>
                  </a:cubicBezTo>
                  <a:cubicBezTo>
                    <a:pt x="58" y="44"/>
                    <a:pt x="60" y="66"/>
                    <a:pt x="72" y="61"/>
                  </a:cubicBezTo>
                  <a:cubicBezTo>
                    <a:pt x="84" y="56"/>
                    <a:pt x="77" y="13"/>
                    <a:pt x="49" y="6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BA31DEEE-9F2D-4F27-886D-03FEB60BA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2586038"/>
              <a:ext cx="441325" cy="738188"/>
            </a:xfrm>
            <a:custGeom>
              <a:avLst/>
              <a:gdLst>
                <a:gd name="T0" fmla="*/ 78 w 147"/>
                <a:gd name="T1" fmla="*/ 37 h 247"/>
                <a:gd name="T2" fmla="*/ 35 w 147"/>
                <a:gd name="T3" fmla="*/ 16 h 247"/>
                <a:gd name="T4" fmla="*/ 46 w 147"/>
                <a:gd name="T5" fmla="*/ 56 h 247"/>
                <a:gd name="T6" fmla="*/ 102 w 147"/>
                <a:gd name="T7" fmla="*/ 116 h 247"/>
                <a:gd name="T8" fmla="*/ 42 w 147"/>
                <a:gd name="T9" fmla="*/ 169 h 247"/>
                <a:gd name="T10" fmla="*/ 41 w 147"/>
                <a:gd name="T11" fmla="*/ 170 h 247"/>
                <a:gd name="T12" fmla="*/ 23 w 147"/>
                <a:gd name="T13" fmla="*/ 183 h 247"/>
                <a:gd name="T14" fmla="*/ 8 w 147"/>
                <a:gd name="T15" fmla="*/ 189 h 247"/>
                <a:gd name="T16" fmla="*/ 2 w 147"/>
                <a:gd name="T17" fmla="*/ 193 h 247"/>
                <a:gd name="T18" fmla="*/ 16 w 147"/>
                <a:gd name="T19" fmla="*/ 196 h 247"/>
                <a:gd name="T20" fmla="*/ 17 w 147"/>
                <a:gd name="T21" fmla="*/ 208 h 247"/>
                <a:gd name="T22" fmla="*/ 27 w 147"/>
                <a:gd name="T23" fmla="*/ 244 h 247"/>
                <a:gd name="T24" fmla="*/ 27 w 147"/>
                <a:gd name="T25" fmla="*/ 232 h 247"/>
                <a:gd name="T26" fmla="*/ 32 w 147"/>
                <a:gd name="T27" fmla="*/ 240 h 247"/>
                <a:gd name="T28" fmla="*/ 31 w 147"/>
                <a:gd name="T29" fmla="*/ 229 h 247"/>
                <a:gd name="T30" fmla="*/ 35 w 147"/>
                <a:gd name="T31" fmla="*/ 235 h 247"/>
                <a:gd name="T32" fmla="*/ 37 w 147"/>
                <a:gd name="T33" fmla="*/ 232 h 247"/>
                <a:gd name="T34" fmla="*/ 34 w 147"/>
                <a:gd name="T35" fmla="*/ 226 h 247"/>
                <a:gd name="T36" fmla="*/ 35 w 147"/>
                <a:gd name="T37" fmla="*/ 227 h 247"/>
                <a:gd name="T38" fmla="*/ 38 w 147"/>
                <a:gd name="T39" fmla="*/ 230 h 247"/>
                <a:gd name="T40" fmla="*/ 37 w 147"/>
                <a:gd name="T41" fmla="*/ 225 h 247"/>
                <a:gd name="T42" fmla="*/ 34 w 147"/>
                <a:gd name="T43" fmla="*/ 219 h 247"/>
                <a:gd name="T44" fmla="*/ 38 w 147"/>
                <a:gd name="T45" fmla="*/ 202 h 247"/>
                <a:gd name="T46" fmla="*/ 52 w 147"/>
                <a:gd name="T47" fmla="*/ 188 h 247"/>
                <a:gd name="T48" fmla="*/ 57 w 147"/>
                <a:gd name="T49" fmla="*/ 186 h 247"/>
                <a:gd name="T50" fmla="*/ 59 w 147"/>
                <a:gd name="T51" fmla="*/ 185 h 247"/>
                <a:gd name="T52" fmla="*/ 147 w 147"/>
                <a:gd name="T53" fmla="*/ 121 h 247"/>
                <a:gd name="T54" fmla="*/ 78 w 147"/>
                <a:gd name="T55" fmla="*/ 3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7" h="247">
                  <a:moveTo>
                    <a:pt x="78" y="37"/>
                  </a:moveTo>
                  <a:cubicBezTo>
                    <a:pt x="64" y="20"/>
                    <a:pt x="51" y="0"/>
                    <a:pt x="35" y="16"/>
                  </a:cubicBezTo>
                  <a:cubicBezTo>
                    <a:pt x="22" y="28"/>
                    <a:pt x="35" y="43"/>
                    <a:pt x="46" y="56"/>
                  </a:cubicBezTo>
                  <a:cubicBezTo>
                    <a:pt x="57" y="69"/>
                    <a:pt x="102" y="116"/>
                    <a:pt x="102" y="116"/>
                  </a:cubicBezTo>
                  <a:cubicBezTo>
                    <a:pt x="42" y="169"/>
                    <a:pt x="42" y="169"/>
                    <a:pt x="42" y="169"/>
                  </a:cubicBezTo>
                  <a:cubicBezTo>
                    <a:pt x="42" y="169"/>
                    <a:pt x="42" y="169"/>
                    <a:pt x="41" y="170"/>
                  </a:cubicBezTo>
                  <a:cubicBezTo>
                    <a:pt x="41" y="170"/>
                    <a:pt x="28" y="182"/>
                    <a:pt x="23" y="183"/>
                  </a:cubicBezTo>
                  <a:cubicBezTo>
                    <a:pt x="19" y="184"/>
                    <a:pt x="11" y="191"/>
                    <a:pt x="8" y="189"/>
                  </a:cubicBezTo>
                  <a:cubicBezTo>
                    <a:pt x="3" y="186"/>
                    <a:pt x="0" y="191"/>
                    <a:pt x="2" y="193"/>
                  </a:cubicBezTo>
                  <a:cubicBezTo>
                    <a:pt x="4" y="194"/>
                    <a:pt x="14" y="197"/>
                    <a:pt x="16" y="196"/>
                  </a:cubicBezTo>
                  <a:cubicBezTo>
                    <a:pt x="19" y="195"/>
                    <a:pt x="20" y="203"/>
                    <a:pt x="17" y="208"/>
                  </a:cubicBezTo>
                  <a:cubicBezTo>
                    <a:pt x="13" y="212"/>
                    <a:pt x="23" y="241"/>
                    <a:pt x="27" y="244"/>
                  </a:cubicBezTo>
                  <a:cubicBezTo>
                    <a:pt x="31" y="247"/>
                    <a:pt x="27" y="232"/>
                    <a:pt x="27" y="232"/>
                  </a:cubicBezTo>
                  <a:cubicBezTo>
                    <a:pt x="27" y="232"/>
                    <a:pt x="30" y="241"/>
                    <a:pt x="32" y="240"/>
                  </a:cubicBezTo>
                  <a:cubicBezTo>
                    <a:pt x="34" y="238"/>
                    <a:pt x="31" y="232"/>
                    <a:pt x="31" y="229"/>
                  </a:cubicBezTo>
                  <a:cubicBezTo>
                    <a:pt x="32" y="230"/>
                    <a:pt x="34" y="235"/>
                    <a:pt x="35" y="235"/>
                  </a:cubicBezTo>
                  <a:cubicBezTo>
                    <a:pt x="37" y="236"/>
                    <a:pt x="38" y="233"/>
                    <a:pt x="37" y="232"/>
                  </a:cubicBezTo>
                  <a:cubicBezTo>
                    <a:pt x="36" y="231"/>
                    <a:pt x="35" y="228"/>
                    <a:pt x="34" y="226"/>
                  </a:cubicBezTo>
                  <a:cubicBezTo>
                    <a:pt x="34" y="226"/>
                    <a:pt x="34" y="227"/>
                    <a:pt x="35" y="227"/>
                  </a:cubicBezTo>
                  <a:cubicBezTo>
                    <a:pt x="35" y="229"/>
                    <a:pt x="37" y="230"/>
                    <a:pt x="38" y="230"/>
                  </a:cubicBezTo>
                  <a:cubicBezTo>
                    <a:pt x="38" y="229"/>
                    <a:pt x="40" y="228"/>
                    <a:pt x="37" y="225"/>
                  </a:cubicBezTo>
                  <a:cubicBezTo>
                    <a:pt x="36" y="224"/>
                    <a:pt x="35" y="221"/>
                    <a:pt x="34" y="219"/>
                  </a:cubicBezTo>
                  <a:cubicBezTo>
                    <a:pt x="35" y="212"/>
                    <a:pt x="36" y="204"/>
                    <a:pt x="38" y="202"/>
                  </a:cubicBezTo>
                  <a:cubicBezTo>
                    <a:pt x="42" y="199"/>
                    <a:pt x="52" y="188"/>
                    <a:pt x="52" y="188"/>
                  </a:cubicBezTo>
                  <a:cubicBezTo>
                    <a:pt x="57" y="186"/>
                    <a:pt x="57" y="186"/>
                    <a:pt x="57" y="186"/>
                  </a:cubicBezTo>
                  <a:cubicBezTo>
                    <a:pt x="58" y="185"/>
                    <a:pt x="59" y="185"/>
                    <a:pt x="59" y="185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1"/>
                    <a:pt x="93" y="54"/>
                    <a:pt x="78" y="37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64267DC3-8E9D-49A4-839E-912513709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713" y="2586038"/>
              <a:ext cx="350838" cy="331788"/>
            </a:xfrm>
            <a:custGeom>
              <a:avLst/>
              <a:gdLst>
                <a:gd name="T0" fmla="*/ 56 w 117"/>
                <a:gd name="T1" fmla="*/ 37 h 111"/>
                <a:gd name="T2" fmla="*/ 13 w 117"/>
                <a:gd name="T3" fmla="*/ 16 h 111"/>
                <a:gd name="T4" fmla="*/ 24 w 117"/>
                <a:gd name="T5" fmla="*/ 56 h 111"/>
                <a:gd name="T6" fmla="*/ 71 w 117"/>
                <a:gd name="T7" fmla="*/ 107 h 111"/>
                <a:gd name="T8" fmla="*/ 117 w 117"/>
                <a:gd name="T9" fmla="*/ 111 h 111"/>
                <a:gd name="T10" fmla="*/ 56 w 117"/>
                <a:gd name="T11" fmla="*/ 3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11">
                  <a:moveTo>
                    <a:pt x="56" y="37"/>
                  </a:moveTo>
                  <a:cubicBezTo>
                    <a:pt x="42" y="20"/>
                    <a:pt x="29" y="0"/>
                    <a:pt x="13" y="16"/>
                  </a:cubicBezTo>
                  <a:cubicBezTo>
                    <a:pt x="0" y="28"/>
                    <a:pt x="13" y="43"/>
                    <a:pt x="24" y="56"/>
                  </a:cubicBezTo>
                  <a:cubicBezTo>
                    <a:pt x="32" y="65"/>
                    <a:pt x="57" y="92"/>
                    <a:pt x="71" y="107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01" y="92"/>
                    <a:pt x="67" y="50"/>
                    <a:pt x="56" y="37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530F6665-7F77-4A08-8871-99E1CF12D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2541588"/>
              <a:ext cx="333375" cy="361950"/>
            </a:xfrm>
            <a:custGeom>
              <a:avLst/>
              <a:gdLst>
                <a:gd name="T0" fmla="*/ 18 w 111"/>
                <a:gd name="T1" fmla="*/ 14 h 121"/>
                <a:gd name="T2" fmla="*/ 81 w 111"/>
                <a:gd name="T3" fmla="*/ 47 h 121"/>
                <a:gd name="T4" fmla="*/ 111 w 111"/>
                <a:gd name="T5" fmla="*/ 82 h 121"/>
                <a:gd name="T6" fmla="*/ 85 w 111"/>
                <a:gd name="T7" fmla="*/ 91 h 121"/>
                <a:gd name="T8" fmla="*/ 42 w 111"/>
                <a:gd name="T9" fmla="*/ 112 h 121"/>
                <a:gd name="T10" fmla="*/ 9 w 111"/>
                <a:gd name="T11" fmla="*/ 50 h 121"/>
                <a:gd name="T12" fmla="*/ 18 w 111"/>
                <a:gd name="T13" fmla="*/ 1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21">
                  <a:moveTo>
                    <a:pt x="18" y="14"/>
                  </a:moveTo>
                  <a:cubicBezTo>
                    <a:pt x="36" y="0"/>
                    <a:pt x="56" y="16"/>
                    <a:pt x="81" y="47"/>
                  </a:cubicBezTo>
                  <a:cubicBezTo>
                    <a:pt x="106" y="78"/>
                    <a:pt x="111" y="82"/>
                    <a:pt x="111" y="82"/>
                  </a:cubicBezTo>
                  <a:cubicBezTo>
                    <a:pt x="111" y="82"/>
                    <a:pt x="90" y="75"/>
                    <a:pt x="85" y="91"/>
                  </a:cubicBezTo>
                  <a:cubicBezTo>
                    <a:pt x="81" y="106"/>
                    <a:pt x="56" y="121"/>
                    <a:pt x="42" y="112"/>
                  </a:cubicBezTo>
                  <a:cubicBezTo>
                    <a:pt x="42" y="112"/>
                    <a:pt x="19" y="69"/>
                    <a:pt x="9" y="50"/>
                  </a:cubicBezTo>
                  <a:cubicBezTo>
                    <a:pt x="0" y="31"/>
                    <a:pt x="3" y="25"/>
                    <a:pt x="18" y="14"/>
                  </a:cubicBezTo>
                  <a:close/>
                </a:path>
              </a:pathLst>
            </a:custGeom>
            <a:solidFill>
              <a:srgbClr val="A19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1E444241-1410-4865-A204-7013F008088F}"/>
              </a:ext>
            </a:extLst>
          </p:cNvPr>
          <p:cNvGrpSpPr/>
          <p:nvPr/>
        </p:nvGrpSpPr>
        <p:grpSpPr>
          <a:xfrm>
            <a:off x="4186203" y="3644377"/>
            <a:ext cx="1610591" cy="2414443"/>
            <a:chOff x="5214938" y="2092326"/>
            <a:chExt cx="1771650" cy="2655887"/>
          </a:xfrm>
        </p:grpSpPr>
        <p:sp>
          <p:nvSpPr>
            <p:cNvPr id="76" name="Freeform 45">
              <a:extLst>
                <a:ext uri="{FF2B5EF4-FFF2-40B4-BE49-F238E27FC236}">
                  <a16:creationId xmlns:a16="http://schemas.microsoft.com/office/drawing/2014/main" id="{6022CABF-C969-4ACD-91D1-FE17F036D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4338" y="2349501"/>
              <a:ext cx="222250" cy="244475"/>
            </a:xfrm>
            <a:custGeom>
              <a:avLst/>
              <a:gdLst>
                <a:gd name="T0" fmla="*/ 12 w 74"/>
                <a:gd name="T1" fmla="*/ 82 h 82"/>
                <a:gd name="T2" fmla="*/ 0 w 74"/>
                <a:gd name="T3" fmla="*/ 63 h 82"/>
                <a:gd name="T4" fmla="*/ 17 w 74"/>
                <a:gd name="T5" fmla="*/ 43 h 82"/>
                <a:gd name="T6" fmla="*/ 18 w 74"/>
                <a:gd name="T7" fmla="*/ 13 h 82"/>
                <a:gd name="T8" fmla="*/ 24 w 74"/>
                <a:gd name="T9" fmla="*/ 12 h 82"/>
                <a:gd name="T10" fmla="*/ 31 w 74"/>
                <a:gd name="T11" fmla="*/ 26 h 82"/>
                <a:gd name="T12" fmla="*/ 53 w 74"/>
                <a:gd name="T13" fmla="*/ 4 h 82"/>
                <a:gd name="T14" fmla="*/ 55 w 74"/>
                <a:gd name="T15" fmla="*/ 9 h 82"/>
                <a:gd name="T16" fmla="*/ 41 w 74"/>
                <a:gd name="T17" fmla="*/ 30 h 82"/>
                <a:gd name="T18" fmla="*/ 64 w 74"/>
                <a:gd name="T19" fmla="*/ 5 h 82"/>
                <a:gd name="T20" fmla="*/ 66 w 74"/>
                <a:gd name="T21" fmla="*/ 10 h 82"/>
                <a:gd name="T22" fmla="*/ 46 w 74"/>
                <a:gd name="T23" fmla="*/ 35 h 82"/>
                <a:gd name="T24" fmla="*/ 68 w 74"/>
                <a:gd name="T25" fmla="*/ 18 h 82"/>
                <a:gd name="T26" fmla="*/ 68 w 74"/>
                <a:gd name="T27" fmla="*/ 23 h 82"/>
                <a:gd name="T28" fmla="*/ 50 w 74"/>
                <a:gd name="T29" fmla="*/ 41 h 82"/>
                <a:gd name="T30" fmla="*/ 67 w 74"/>
                <a:gd name="T31" fmla="*/ 32 h 82"/>
                <a:gd name="T32" fmla="*/ 67 w 74"/>
                <a:gd name="T33" fmla="*/ 39 h 82"/>
                <a:gd name="T34" fmla="*/ 43 w 74"/>
                <a:gd name="T35" fmla="*/ 58 h 82"/>
                <a:gd name="T36" fmla="*/ 29 w 74"/>
                <a:gd name="T37" fmla="*/ 63 h 82"/>
                <a:gd name="T38" fmla="*/ 12 w 74"/>
                <a:gd name="T3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4" h="82">
                  <a:moveTo>
                    <a:pt x="12" y="82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2" y="30"/>
                    <a:pt x="21" y="18"/>
                    <a:pt x="18" y="13"/>
                  </a:cubicBezTo>
                  <a:cubicBezTo>
                    <a:pt x="14" y="7"/>
                    <a:pt x="21" y="6"/>
                    <a:pt x="24" y="12"/>
                  </a:cubicBezTo>
                  <a:cubicBezTo>
                    <a:pt x="27" y="17"/>
                    <a:pt x="31" y="26"/>
                    <a:pt x="31" y="26"/>
                  </a:cubicBezTo>
                  <a:cubicBezTo>
                    <a:pt x="31" y="26"/>
                    <a:pt x="50" y="7"/>
                    <a:pt x="53" y="4"/>
                  </a:cubicBezTo>
                  <a:cubicBezTo>
                    <a:pt x="56" y="0"/>
                    <a:pt x="59" y="4"/>
                    <a:pt x="55" y="9"/>
                  </a:cubicBezTo>
                  <a:cubicBezTo>
                    <a:pt x="51" y="15"/>
                    <a:pt x="41" y="30"/>
                    <a:pt x="41" y="30"/>
                  </a:cubicBezTo>
                  <a:cubicBezTo>
                    <a:pt x="41" y="30"/>
                    <a:pt x="62" y="7"/>
                    <a:pt x="64" y="5"/>
                  </a:cubicBezTo>
                  <a:cubicBezTo>
                    <a:pt x="65" y="3"/>
                    <a:pt x="70" y="5"/>
                    <a:pt x="66" y="10"/>
                  </a:cubicBezTo>
                  <a:cubicBezTo>
                    <a:pt x="60" y="17"/>
                    <a:pt x="46" y="35"/>
                    <a:pt x="46" y="35"/>
                  </a:cubicBezTo>
                  <a:cubicBezTo>
                    <a:pt x="46" y="35"/>
                    <a:pt x="64" y="20"/>
                    <a:pt x="68" y="18"/>
                  </a:cubicBezTo>
                  <a:cubicBezTo>
                    <a:pt x="71" y="15"/>
                    <a:pt x="74" y="17"/>
                    <a:pt x="68" y="23"/>
                  </a:cubicBezTo>
                  <a:cubicBezTo>
                    <a:pt x="62" y="30"/>
                    <a:pt x="50" y="41"/>
                    <a:pt x="50" y="41"/>
                  </a:cubicBezTo>
                  <a:cubicBezTo>
                    <a:pt x="52" y="41"/>
                    <a:pt x="62" y="35"/>
                    <a:pt x="67" y="32"/>
                  </a:cubicBezTo>
                  <a:cubicBezTo>
                    <a:pt x="71" y="30"/>
                    <a:pt x="74" y="33"/>
                    <a:pt x="67" y="39"/>
                  </a:cubicBezTo>
                  <a:cubicBezTo>
                    <a:pt x="59" y="44"/>
                    <a:pt x="51" y="53"/>
                    <a:pt x="43" y="58"/>
                  </a:cubicBezTo>
                  <a:cubicBezTo>
                    <a:pt x="36" y="64"/>
                    <a:pt x="29" y="63"/>
                    <a:pt x="29" y="63"/>
                  </a:cubicBezTo>
                  <a:lnTo>
                    <a:pt x="12" y="82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46">
              <a:extLst>
                <a:ext uri="{FF2B5EF4-FFF2-40B4-BE49-F238E27FC236}">
                  <a16:creationId xmlns:a16="http://schemas.microsoft.com/office/drawing/2014/main" id="{961F0C5D-E499-452D-B446-DACECDD20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4338" y="2451101"/>
              <a:ext cx="125413" cy="142875"/>
            </a:xfrm>
            <a:custGeom>
              <a:avLst/>
              <a:gdLst>
                <a:gd name="T0" fmla="*/ 29 w 42"/>
                <a:gd name="T1" fmla="*/ 29 h 48"/>
                <a:gd name="T2" fmla="*/ 12 w 42"/>
                <a:gd name="T3" fmla="*/ 48 h 48"/>
                <a:gd name="T4" fmla="*/ 0 w 42"/>
                <a:gd name="T5" fmla="*/ 29 h 48"/>
                <a:gd name="T6" fmla="*/ 17 w 42"/>
                <a:gd name="T7" fmla="*/ 9 h 48"/>
                <a:gd name="T8" fmla="*/ 20 w 42"/>
                <a:gd name="T9" fmla="*/ 0 h 48"/>
                <a:gd name="T10" fmla="*/ 41 w 42"/>
                <a:gd name="T11" fmla="*/ 21 h 48"/>
                <a:gd name="T12" fmla="*/ 42 w 42"/>
                <a:gd name="T13" fmla="*/ 25 h 48"/>
                <a:gd name="T14" fmla="*/ 29 w 42"/>
                <a:gd name="T15" fmla="*/ 2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8">
                  <a:moveTo>
                    <a:pt x="29" y="29"/>
                  </a:moveTo>
                  <a:cubicBezTo>
                    <a:pt x="12" y="48"/>
                    <a:pt x="12" y="48"/>
                    <a:pt x="12" y="4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6"/>
                    <a:pt x="19" y="3"/>
                    <a:pt x="20" y="0"/>
                  </a:cubicBezTo>
                  <a:cubicBezTo>
                    <a:pt x="29" y="7"/>
                    <a:pt x="38" y="15"/>
                    <a:pt x="41" y="21"/>
                  </a:cubicBezTo>
                  <a:cubicBezTo>
                    <a:pt x="41" y="22"/>
                    <a:pt x="41" y="24"/>
                    <a:pt x="42" y="25"/>
                  </a:cubicBezTo>
                  <a:cubicBezTo>
                    <a:pt x="35" y="30"/>
                    <a:pt x="29" y="29"/>
                    <a:pt x="29" y="29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47">
              <a:extLst>
                <a:ext uri="{FF2B5EF4-FFF2-40B4-BE49-F238E27FC236}">
                  <a16:creationId xmlns:a16="http://schemas.microsoft.com/office/drawing/2014/main" id="{D70B8A67-8CA2-4EE8-BAEE-83A8B7CDB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638" y="2525713"/>
              <a:ext cx="574675" cy="325438"/>
            </a:xfrm>
            <a:custGeom>
              <a:avLst/>
              <a:gdLst>
                <a:gd name="T0" fmla="*/ 6 w 192"/>
                <a:gd name="T1" fmla="*/ 18 h 109"/>
                <a:gd name="T2" fmla="*/ 37 w 192"/>
                <a:gd name="T3" fmla="*/ 13 h 109"/>
                <a:gd name="T4" fmla="*/ 89 w 192"/>
                <a:gd name="T5" fmla="*/ 49 h 109"/>
                <a:gd name="T6" fmla="*/ 174 w 192"/>
                <a:gd name="T7" fmla="*/ 4 h 109"/>
                <a:gd name="T8" fmla="*/ 192 w 192"/>
                <a:gd name="T9" fmla="*/ 17 h 109"/>
                <a:gd name="T10" fmla="*/ 111 w 192"/>
                <a:gd name="T11" fmla="*/ 109 h 109"/>
                <a:gd name="T12" fmla="*/ 25 w 192"/>
                <a:gd name="T13" fmla="*/ 64 h 109"/>
                <a:gd name="T14" fmla="*/ 6 w 192"/>
                <a:gd name="T15" fmla="*/ 1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109">
                  <a:moveTo>
                    <a:pt x="6" y="18"/>
                  </a:moveTo>
                  <a:cubicBezTo>
                    <a:pt x="14" y="6"/>
                    <a:pt x="16" y="0"/>
                    <a:pt x="37" y="13"/>
                  </a:cubicBezTo>
                  <a:cubicBezTo>
                    <a:pt x="58" y="25"/>
                    <a:pt x="89" y="49"/>
                    <a:pt x="89" y="49"/>
                  </a:cubicBezTo>
                  <a:cubicBezTo>
                    <a:pt x="174" y="4"/>
                    <a:pt x="174" y="4"/>
                    <a:pt x="174" y="4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40" y="74"/>
                    <a:pt x="25" y="64"/>
                  </a:cubicBezTo>
                  <a:cubicBezTo>
                    <a:pt x="9" y="55"/>
                    <a:pt x="0" y="29"/>
                    <a:pt x="6" y="18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E7A49E38-7F8A-41AE-AAC6-F944AD022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6651" y="2498726"/>
              <a:ext cx="317500" cy="334963"/>
            </a:xfrm>
            <a:custGeom>
              <a:avLst/>
              <a:gdLst>
                <a:gd name="T0" fmla="*/ 8 w 106"/>
                <a:gd name="T1" fmla="*/ 28 h 112"/>
                <a:gd name="T2" fmla="*/ 56 w 106"/>
                <a:gd name="T3" fmla="*/ 19 h 112"/>
                <a:gd name="T4" fmla="*/ 106 w 106"/>
                <a:gd name="T5" fmla="*/ 49 h 112"/>
                <a:gd name="T6" fmla="*/ 79 w 106"/>
                <a:gd name="T7" fmla="*/ 112 h 112"/>
                <a:gd name="T8" fmla="*/ 18 w 106"/>
                <a:gd name="T9" fmla="*/ 75 h 112"/>
                <a:gd name="T10" fmla="*/ 8 w 106"/>
                <a:gd name="T11" fmla="*/ 2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" h="112">
                  <a:moveTo>
                    <a:pt x="8" y="28"/>
                  </a:moveTo>
                  <a:cubicBezTo>
                    <a:pt x="14" y="14"/>
                    <a:pt x="29" y="0"/>
                    <a:pt x="56" y="19"/>
                  </a:cubicBezTo>
                  <a:cubicBezTo>
                    <a:pt x="83" y="39"/>
                    <a:pt x="106" y="49"/>
                    <a:pt x="106" y="49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9" y="112"/>
                    <a:pt x="36" y="87"/>
                    <a:pt x="18" y="75"/>
                  </a:cubicBezTo>
                  <a:cubicBezTo>
                    <a:pt x="0" y="62"/>
                    <a:pt x="3" y="39"/>
                    <a:pt x="8" y="28"/>
                  </a:cubicBezTo>
                  <a:close/>
                </a:path>
              </a:pathLst>
            </a:custGeom>
            <a:solidFill>
              <a:srgbClr val="736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49">
              <a:extLst>
                <a:ext uri="{FF2B5EF4-FFF2-40B4-BE49-F238E27FC236}">
                  <a16:creationId xmlns:a16="http://schemas.microsoft.com/office/drawing/2014/main" id="{A9A2AA93-5581-49B7-B01E-9A5C103B9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7338" y="3565526"/>
              <a:ext cx="692150" cy="307975"/>
            </a:xfrm>
            <a:custGeom>
              <a:avLst/>
              <a:gdLst>
                <a:gd name="T0" fmla="*/ 436 w 436"/>
                <a:gd name="T1" fmla="*/ 109 h 194"/>
                <a:gd name="T2" fmla="*/ 414 w 436"/>
                <a:gd name="T3" fmla="*/ 194 h 194"/>
                <a:gd name="T4" fmla="*/ 10 w 436"/>
                <a:gd name="T5" fmla="*/ 66 h 194"/>
                <a:gd name="T6" fmla="*/ 0 w 436"/>
                <a:gd name="T7" fmla="*/ 0 h 194"/>
                <a:gd name="T8" fmla="*/ 436 w 436"/>
                <a:gd name="T9" fmla="*/ 10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6" h="194">
                  <a:moveTo>
                    <a:pt x="436" y="109"/>
                  </a:moveTo>
                  <a:lnTo>
                    <a:pt x="414" y="194"/>
                  </a:lnTo>
                  <a:lnTo>
                    <a:pt x="10" y="66"/>
                  </a:lnTo>
                  <a:lnTo>
                    <a:pt x="0" y="0"/>
                  </a:lnTo>
                  <a:lnTo>
                    <a:pt x="436" y="109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50">
              <a:extLst>
                <a:ext uri="{FF2B5EF4-FFF2-40B4-BE49-F238E27FC236}">
                  <a16:creationId xmlns:a16="http://schemas.microsoft.com/office/drawing/2014/main" id="{998AF90C-D7CF-4237-9CA3-48FB9E4C6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7338" y="3565526"/>
              <a:ext cx="692150" cy="307975"/>
            </a:xfrm>
            <a:custGeom>
              <a:avLst/>
              <a:gdLst>
                <a:gd name="T0" fmla="*/ 436 w 436"/>
                <a:gd name="T1" fmla="*/ 109 h 194"/>
                <a:gd name="T2" fmla="*/ 414 w 436"/>
                <a:gd name="T3" fmla="*/ 194 h 194"/>
                <a:gd name="T4" fmla="*/ 10 w 436"/>
                <a:gd name="T5" fmla="*/ 66 h 194"/>
                <a:gd name="T6" fmla="*/ 0 w 436"/>
                <a:gd name="T7" fmla="*/ 0 h 194"/>
                <a:gd name="T8" fmla="*/ 436 w 436"/>
                <a:gd name="T9" fmla="*/ 10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6" h="194">
                  <a:moveTo>
                    <a:pt x="436" y="109"/>
                  </a:moveTo>
                  <a:lnTo>
                    <a:pt x="414" y="194"/>
                  </a:lnTo>
                  <a:lnTo>
                    <a:pt x="10" y="66"/>
                  </a:lnTo>
                  <a:lnTo>
                    <a:pt x="0" y="0"/>
                  </a:lnTo>
                  <a:lnTo>
                    <a:pt x="436" y="10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51">
              <a:extLst>
                <a:ext uri="{FF2B5EF4-FFF2-40B4-BE49-F238E27FC236}">
                  <a16:creationId xmlns:a16="http://schemas.microsoft.com/office/drawing/2014/main" id="{C9858AF1-FD18-4689-B7E7-DB62575E9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988" y="3603626"/>
              <a:ext cx="571500" cy="269875"/>
            </a:xfrm>
            <a:custGeom>
              <a:avLst/>
              <a:gdLst>
                <a:gd name="T0" fmla="*/ 0 w 191"/>
                <a:gd name="T1" fmla="*/ 33 h 90"/>
                <a:gd name="T2" fmla="*/ 179 w 191"/>
                <a:gd name="T3" fmla="*/ 90 h 90"/>
                <a:gd name="T4" fmla="*/ 191 w 191"/>
                <a:gd name="T5" fmla="*/ 45 h 90"/>
                <a:gd name="T6" fmla="*/ 13 w 191"/>
                <a:gd name="T7" fmla="*/ 0 h 90"/>
                <a:gd name="T8" fmla="*/ 0 w 191"/>
                <a:gd name="T9" fmla="*/ 3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90">
                  <a:moveTo>
                    <a:pt x="0" y="33"/>
                  </a:moveTo>
                  <a:cubicBezTo>
                    <a:pt x="179" y="90"/>
                    <a:pt x="179" y="90"/>
                    <a:pt x="179" y="90"/>
                  </a:cubicBezTo>
                  <a:cubicBezTo>
                    <a:pt x="191" y="45"/>
                    <a:pt x="191" y="45"/>
                    <a:pt x="191" y="4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9"/>
                    <a:pt x="5" y="22"/>
                    <a:pt x="0" y="33"/>
                  </a:cubicBezTo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52">
              <a:extLst>
                <a:ext uri="{FF2B5EF4-FFF2-40B4-BE49-F238E27FC236}">
                  <a16:creationId xmlns:a16="http://schemas.microsoft.com/office/drawing/2014/main" id="{24A930C4-A3BA-4059-AF6F-8C8EB6198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3697288"/>
              <a:ext cx="161925" cy="898525"/>
            </a:xfrm>
            <a:custGeom>
              <a:avLst/>
              <a:gdLst>
                <a:gd name="T0" fmla="*/ 28 w 102"/>
                <a:gd name="T1" fmla="*/ 566 h 566"/>
                <a:gd name="T2" fmla="*/ 0 w 102"/>
                <a:gd name="T3" fmla="*/ 1 h 566"/>
                <a:gd name="T4" fmla="*/ 102 w 102"/>
                <a:gd name="T5" fmla="*/ 0 h 566"/>
                <a:gd name="T6" fmla="*/ 92 w 102"/>
                <a:gd name="T7" fmla="*/ 545 h 566"/>
                <a:gd name="T8" fmla="*/ 28 w 102"/>
                <a:gd name="T9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566">
                  <a:moveTo>
                    <a:pt x="28" y="566"/>
                  </a:moveTo>
                  <a:lnTo>
                    <a:pt x="0" y="1"/>
                  </a:lnTo>
                  <a:lnTo>
                    <a:pt x="102" y="0"/>
                  </a:lnTo>
                  <a:lnTo>
                    <a:pt x="92" y="545"/>
                  </a:lnTo>
                  <a:lnTo>
                    <a:pt x="28" y="566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53">
              <a:extLst>
                <a:ext uri="{FF2B5EF4-FFF2-40B4-BE49-F238E27FC236}">
                  <a16:creationId xmlns:a16="http://schemas.microsoft.com/office/drawing/2014/main" id="{3DEC7C54-CBBA-4AEB-AF83-6D8D1368C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3697288"/>
              <a:ext cx="161925" cy="779463"/>
            </a:xfrm>
            <a:custGeom>
              <a:avLst/>
              <a:gdLst>
                <a:gd name="T0" fmla="*/ 92 w 102"/>
                <a:gd name="T1" fmla="*/ 491 h 491"/>
                <a:gd name="T2" fmla="*/ 102 w 102"/>
                <a:gd name="T3" fmla="*/ 0 h 491"/>
                <a:gd name="T4" fmla="*/ 0 w 102"/>
                <a:gd name="T5" fmla="*/ 1 h 491"/>
                <a:gd name="T6" fmla="*/ 25 w 102"/>
                <a:gd name="T7" fmla="*/ 489 h 491"/>
                <a:gd name="T8" fmla="*/ 92 w 102"/>
                <a:gd name="T9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491">
                  <a:moveTo>
                    <a:pt x="92" y="491"/>
                  </a:moveTo>
                  <a:lnTo>
                    <a:pt x="102" y="0"/>
                  </a:lnTo>
                  <a:lnTo>
                    <a:pt x="0" y="1"/>
                  </a:lnTo>
                  <a:lnTo>
                    <a:pt x="25" y="489"/>
                  </a:lnTo>
                  <a:lnTo>
                    <a:pt x="92" y="491"/>
                  </a:ln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54">
              <a:extLst>
                <a:ext uri="{FF2B5EF4-FFF2-40B4-BE49-F238E27FC236}">
                  <a16:creationId xmlns:a16="http://schemas.microsoft.com/office/drawing/2014/main" id="{C1D89D07-DB1F-4D9F-A803-B46DF5FE0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901" y="4548188"/>
              <a:ext cx="327025" cy="200025"/>
            </a:xfrm>
            <a:custGeom>
              <a:avLst/>
              <a:gdLst>
                <a:gd name="T0" fmla="*/ 92 w 109"/>
                <a:gd name="T1" fmla="*/ 45 h 67"/>
                <a:gd name="T2" fmla="*/ 61 w 109"/>
                <a:gd name="T3" fmla="*/ 43 h 67"/>
                <a:gd name="T4" fmla="*/ 55 w 109"/>
                <a:gd name="T5" fmla="*/ 21 h 67"/>
                <a:gd name="T6" fmla="*/ 46 w 109"/>
                <a:gd name="T7" fmla="*/ 29 h 67"/>
                <a:gd name="T8" fmla="*/ 43 w 109"/>
                <a:gd name="T9" fmla="*/ 0 h 67"/>
                <a:gd name="T10" fmla="*/ 0 w 109"/>
                <a:gd name="T11" fmla="*/ 7 h 67"/>
                <a:gd name="T12" fmla="*/ 11 w 109"/>
                <a:gd name="T13" fmla="*/ 43 h 67"/>
                <a:gd name="T14" fmla="*/ 2 w 109"/>
                <a:gd name="T15" fmla="*/ 43 h 67"/>
                <a:gd name="T16" fmla="*/ 2 w 109"/>
                <a:gd name="T17" fmla="*/ 67 h 67"/>
                <a:gd name="T18" fmla="*/ 109 w 109"/>
                <a:gd name="T19" fmla="*/ 67 h 67"/>
                <a:gd name="T20" fmla="*/ 92 w 109"/>
                <a:gd name="T21" fmla="*/ 4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67">
                  <a:moveTo>
                    <a:pt x="92" y="45"/>
                  </a:moveTo>
                  <a:cubicBezTo>
                    <a:pt x="80" y="43"/>
                    <a:pt x="68" y="50"/>
                    <a:pt x="61" y="43"/>
                  </a:cubicBezTo>
                  <a:cubicBezTo>
                    <a:pt x="53" y="35"/>
                    <a:pt x="55" y="21"/>
                    <a:pt x="55" y="21"/>
                  </a:cubicBezTo>
                  <a:cubicBezTo>
                    <a:pt x="55" y="21"/>
                    <a:pt x="49" y="26"/>
                    <a:pt x="46" y="29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9" y="44"/>
                    <a:pt x="3" y="43"/>
                    <a:pt x="2" y="43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4" y="48"/>
                    <a:pt x="92" y="45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55">
              <a:extLst>
                <a:ext uri="{FF2B5EF4-FFF2-40B4-BE49-F238E27FC236}">
                  <a16:creationId xmlns:a16="http://schemas.microsoft.com/office/drawing/2014/main" id="{D362DACF-81B8-4675-AD06-9BA4C81B0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3532188"/>
              <a:ext cx="257175" cy="307975"/>
            </a:xfrm>
            <a:custGeom>
              <a:avLst/>
              <a:gdLst>
                <a:gd name="T0" fmla="*/ 25 w 86"/>
                <a:gd name="T1" fmla="*/ 92 h 103"/>
                <a:gd name="T2" fmla="*/ 37 w 86"/>
                <a:gd name="T3" fmla="*/ 58 h 103"/>
                <a:gd name="T4" fmla="*/ 59 w 86"/>
                <a:gd name="T5" fmla="*/ 52 h 103"/>
                <a:gd name="T6" fmla="*/ 56 w 86"/>
                <a:gd name="T7" fmla="*/ 46 h 103"/>
                <a:gd name="T8" fmla="*/ 81 w 86"/>
                <a:gd name="T9" fmla="*/ 57 h 103"/>
                <a:gd name="T10" fmla="*/ 86 w 86"/>
                <a:gd name="T11" fmla="*/ 13 h 103"/>
                <a:gd name="T12" fmla="*/ 51 w 86"/>
                <a:gd name="T13" fmla="*/ 11 h 103"/>
                <a:gd name="T14" fmla="*/ 51 w 86"/>
                <a:gd name="T15" fmla="*/ 6 h 103"/>
                <a:gd name="T16" fmla="*/ 28 w 86"/>
                <a:gd name="T17" fmla="*/ 0 h 103"/>
                <a:gd name="T18" fmla="*/ 0 w 86"/>
                <a:gd name="T19" fmla="*/ 103 h 103"/>
                <a:gd name="T20" fmla="*/ 25 w 86"/>
                <a:gd name="T21" fmla="*/ 9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25" y="92"/>
                  </a:moveTo>
                  <a:cubicBezTo>
                    <a:pt x="31" y="81"/>
                    <a:pt x="28" y="63"/>
                    <a:pt x="37" y="58"/>
                  </a:cubicBezTo>
                  <a:cubicBezTo>
                    <a:pt x="46" y="53"/>
                    <a:pt x="59" y="52"/>
                    <a:pt x="59" y="52"/>
                  </a:cubicBezTo>
                  <a:cubicBezTo>
                    <a:pt x="59" y="52"/>
                    <a:pt x="58" y="49"/>
                    <a:pt x="56" y="46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9"/>
                    <a:pt x="51" y="7"/>
                    <a:pt x="51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20" y="103"/>
                    <a:pt x="25" y="92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56">
              <a:extLst>
                <a:ext uri="{FF2B5EF4-FFF2-40B4-BE49-F238E27FC236}">
                  <a16:creationId xmlns:a16="http://schemas.microsoft.com/office/drawing/2014/main" id="{F7BEC683-47DE-4C5E-B66E-61F388C5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3021013"/>
              <a:ext cx="1027113" cy="1425575"/>
            </a:xfrm>
            <a:custGeom>
              <a:avLst/>
              <a:gdLst>
                <a:gd name="T0" fmla="*/ 198 w 343"/>
                <a:gd name="T1" fmla="*/ 7 h 477"/>
                <a:gd name="T2" fmla="*/ 303 w 343"/>
                <a:gd name="T3" fmla="*/ 0 h 477"/>
                <a:gd name="T4" fmla="*/ 302 w 343"/>
                <a:gd name="T5" fmla="*/ 8 h 477"/>
                <a:gd name="T6" fmla="*/ 338 w 343"/>
                <a:gd name="T7" fmla="*/ 245 h 477"/>
                <a:gd name="T8" fmla="*/ 343 w 343"/>
                <a:gd name="T9" fmla="*/ 477 h 477"/>
                <a:gd name="T10" fmla="*/ 261 w 343"/>
                <a:gd name="T11" fmla="*/ 473 h 477"/>
                <a:gd name="T12" fmla="*/ 261 w 343"/>
                <a:gd name="T13" fmla="*/ 238 h 477"/>
                <a:gd name="T14" fmla="*/ 261 w 343"/>
                <a:gd name="T15" fmla="*/ 233 h 477"/>
                <a:gd name="T16" fmla="*/ 248 w 343"/>
                <a:gd name="T17" fmla="*/ 126 h 477"/>
                <a:gd name="T18" fmla="*/ 196 w 343"/>
                <a:gd name="T19" fmla="*/ 274 h 477"/>
                <a:gd name="T20" fmla="*/ 164 w 343"/>
                <a:gd name="T21" fmla="*/ 295 h 477"/>
                <a:gd name="T22" fmla="*/ 0 w 343"/>
                <a:gd name="T23" fmla="*/ 281 h 477"/>
                <a:gd name="T24" fmla="*/ 36 w 343"/>
                <a:gd name="T25" fmla="*/ 165 h 477"/>
                <a:gd name="T26" fmla="*/ 136 w 343"/>
                <a:gd name="T27" fmla="*/ 208 h 477"/>
                <a:gd name="T28" fmla="*/ 159 w 343"/>
                <a:gd name="T29" fmla="*/ 197 h 477"/>
                <a:gd name="T30" fmla="*/ 200 w 343"/>
                <a:gd name="T31" fmla="*/ 13 h 477"/>
                <a:gd name="T32" fmla="*/ 198 w 343"/>
                <a:gd name="T33" fmla="*/ 7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3" h="477">
                  <a:moveTo>
                    <a:pt x="198" y="7"/>
                  </a:moveTo>
                  <a:cubicBezTo>
                    <a:pt x="303" y="0"/>
                    <a:pt x="303" y="0"/>
                    <a:pt x="303" y="0"/>
                  </a:cubicBezTo>
                  <a:cubicBezTo>
                    <a:pt x="302" y="8"/>
                    <a:pt x="302" y="8"/>
                    <a:pt x="302" y="8"/>
                  </a:cubicBezTo>
                  <a:cubicBezTo>
                    <a:pt x="338" y="245"/>
                    <a:pt x="338" y="245"/>
                    <a:pt x="338" y="245"/>
                  </a:cubicBezTo>
                  <a:cubicBezTo>
                    <a:pt x="343" y="477"/>
                    <a:pt x="343" y="477"/>
                    <a:pt x="343" y="477"/>
                  </a:cubicBezTo>
                  <a:cubicBezTo>
                    <a:pt x="261" y="473"/>
                    <a:pt x="261" y="473"/>
                    <a:pt x="261" y="473"/>
                  </a:cubicBezTo>
                  <a:cubicBezTo>
                    <a:pt x="261" y="238"/>
                    <a:pt x="261" y="238"/>
                    <a:pt x="261" y="238"/>
                  </a:cubicBezTo>
                  <a:cubicBezTo>
                    <a:pt x="261" y="236"/>
                    <a:pt x="261" y="234"/>
                    <a:pt x="261" y="233"/>
                  </a:cubicBezTo>
                  <a:cubicBezTo>
                    <a:pt x="248" y="126"/>
                    <a:pt x="248" y="126"/>
                    <a:pt x="248" y="126"/>
                  </a:cubicBezTo>
                  <a:cubicBezTo>
                    <a:pt x="196" y="274"/>
                    <a:pt x="196" y="274"/>
                    <a:pt x="196" y="274"/>
                  </a:cubicBezTo>
                  <a:cubicBezTo>
                    <a:pt x="191" y="288"/>
                    <a:pt x="178" y="296"/>
                    <a:pt x="164" y="295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136" y="208"/>
                    <a:pt x="136" y="208"/>
                    <a:pt x="136" y="208"/>
                  </a:cubicBezTo>
                  <a:cubicBezTo>
                    <a:pt x="146" y="213"/>
                    <a:pt x="157" y="207"/>
                    <a:pt x="159" y="197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198" y="7"/>
                    <a:pt x="198" y="7"/>
                    <a:pt x="198" y="7"/>
                  </a:cubicBezTo>
                </a:path>
              </a:pathLst>
            </a:custGeom>
            <a:solidFill>
              <a:srgbClr val="277E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57">
              <a:extLst>
                <a:ext uri="{FF2B5EF4-FFF2-40B4-BE49-F238E27FC236}">
                  <a16:creationId xmlns:a16="http://schemas.microsoft.com/office/drawing/2014/main" id="{C15B062E-3414-4004-9E86-AF9C19200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3036888"/>
              <a:ext cx="147638" cy="342900"/>
            </a:xfrm>
            <a:custGeom>
              <a:avLst/>
              <a:gdLst>
                <a:gd name="T0" fmla="*/ 4 w 49"/>
                <a:gd name="T1" fmla="*/ 114 h 115"/>
                <a:gd name="T2" fmla="*/ 0 w 49"/>
                <a:gd name="T3" fmla="*/ 115 h 115"/>
                <a:gd name="T4" fmla="*/ 2 w 49"/>
                <a:gd name="T5" fmla="*/ 109 h 115"/>
                <a:gd name="T6" fmla="*/ 28 w 49"/>
                <a:gd name="T7" fmla="*/ 83 h 115"/>
                <a:gd name="T8" fmla="*/ 44 w 49"/>
                <a:gd name="T9" fmla="*/ 0 h 115"/>
                <a:gd name="T10" fmla="*/ 49 w 49"/>
                <a:gd name="T11" fmla="*/ 0 h 115"/>
                <a:gd name="T12" fmla="*/ 33 w 49"/>
                <a:gd name="T13" fmla="*/ 84 h 115"/>
                <a:gd name="T14" fmla="*/ 4 w 49"/>
                <a:gd name="T15" fmla="*/ 11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115">
                  <a:moveTo>
                    <a:pt x="4" y="114"/>
                  </a:moveTo>
                  <a:cubicBezTo>
                    <a:pt x="3" y="114"/>
                    <a:pt x="1" y="115"/>
                    <a:pt x="0" y="115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6" y="108"/>
                    <a:pt x="24" y="100"/>
                    <a:pt x="28" y="83"/>
                  </a:cubicBezTo>
                  <a:cubicBezTo>
                    <a:pt x="33" y="63"/>
                    <a:pt x="44" y="1"/>
                    <a:pt x="44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38" y="64"/>
                    <a:pt x="33" y="84"/>
                  </a:cubicBezTo>
                  <a:cubicBezTo>
                    <a:pt x="29" y="102"/>
                    <a:pt x="19" y="112"/>
                    <a:pt x="4" y="114"/>
                  </a:cubicBezTo>
                </a:path>
              </a:pathLst>
            </a:custGeom>
            <a:solidFill>
              <a:srgbClr val="0A6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58">
              <a:extLst>
                <a:ext uri="{FF2B5EF4-FFF2-40B4-BE49-F238E27FC236}">
                  <a16:creationId xmlns:a16="http://schemas.microsoft.com/office/drawing/2014/main" id="{9ECD5526-5438-4E5C-92DC-A7E514FAB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238" y="3027363"/>
              <a:ext cx="79375" cy="369888"/>
            </a:xfrm>
            <a:custGeom>
              <a:avLst/>
              <a:gdLst>
                <a:gd name="T0" fmla="*/ 12 w 50"/>
                <a:gd name="T1" fmla="*/ 233 h 233"/>
                <a:gd name="T2" fmla="*/ 0 w 50"/>
                <a:gd name="T3" fmla="*/ 233 h 233"/>
                <a:gd name="T4" fmla="*/ 40 w 50"/>
                <a:gd name="T5" fmla="*/ 0 h 233"/>
                <a:gd name="T6" fmla="*/ 50 w 50"/>
                <a:gd name="T7" fmla="*/ 0 h 233"/>
                <a:gd name="T8" fmla="*/ 12 w 50"/>
                <a:gd name="T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33">
                  <a:moveTo>
                    <a:pt x="12" y="233"/>
                  </a:moveTo>
                  <a:lnTo>
                    <a:pt x="0" y="233"/>
                  </a:lnTo>
                  <a:lnTo>
                    <a:pt x="40" y="0"/>
                  </a:lnTo>
                  <a:lnTo>
                    <a:pt x="50" y="0"/>
                  </a:lnTo>
                  <a:lnTo>
                    <a:pt x="12" y="233"/>
                  </a:lnTo>
                  <a:close/>
                </a:path>
              </a:pathLst>
            </a:custGeom>
            <a:solidFill>
              <a:srgbClr val="0A6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59">
              <a:extLst>
                <a:ext uri="{FF2B5EF4-FFF2-40B4-BE49-F238E27FC236}">
                  <a16:creationId xmlns:a16="http://schemas.microsoft.com/office/drawing/2014/main" id="{554B1F57-3BF2-4F50-8F8A-74EC7592A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3367088"/>
              <a:ext cx="155575" cy="350838"/>
            </a:xfrm>
            <a:custGeom>
              <a:avLst/>
              <a:gdLst>
                <a:gd name="T0" fmla="*/ 25 w 98"/>
                <a:gd name="T1" fmla="*/ 221 h 221"/>
                <a:gd name="T2" fmla="*/ 98 w 98"/>
                <a:gd name="T3" fmla="*/ 0 h 221"/>
                <a:gd name="T4" fmla="*/ 0 w 98"/>
                <a:gd name="T5" fmla="*/ 19 h 221"/>
                <a:gd name="T6" fmla="*/ 25 w 98"/>
                <a:gd name="T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221">
                  <a:moveTo>
                    <a:pt x="25" y="221"/>
                  </a:moveTo>
                  <a:lnTo>
                    <a:pt x="98" y="0"/>
                  </a:lnTo>
                  <a:lnTo>
                    <a:pt x="0" y="19"/>
                  </a:lnTo>
                  <a:lnTo>
                    <a:pt x="25" y="221"/>
                  </a:lnTo>
                  <a:close/>
                </a:path>
              </a:pathLst>
            </a:custGeom>
            <a:solidFill>
              <a:srgbClr val="0A66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60">
              <a:extLst>
                <a:ext uri="{FF2B5EF4-FFF2-40B4-BE49-F238E27FC236}">
                  <a16:creationId xmlns:a16="http://schemas.microsoft.com/office/drawing/2014/main" id="{658184A1-BE28-4846-BB8B-4214E74645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01" y="3033713"/>
              <a:ext cx="641350" cy="614363"/>
            </a:xfrm>
            <a:custGeom>
              <a:avLst/>
              <a:gdLst>
                <a:gd name="T0" fmla="*/ 117 w 214"/>
                <a:gd name="T1" fmla="*/ 206 h 206"/>
                <a:gd name="T2" fmla="*/ 117 w 214"/>
                <a:gd name="T3" fmla="*/ 206 h 206"/>
                <a:gd name="T4" fmla="*/ 117 w 214"/>
                <a:gd name="T5" fmla="*/ 206 h 206"/>
                <a:gd name="T6" fmla="*/ 117 w 214"/>
                <a:gd name="T7" fmla="*/ 206 h 206"/>
                <a:gd name="T8" fmla="*/ 110 w 214"/>
                <a:gd name="T9" fmla="*/ 205 h 206"/>
                <a:gd name="T10" fmla="*/ 110 w 214"/>
                <a:gd name="T11" fmla="*/ 205 h 206"/>
                <a:gd name="T12" fmla="*/ 110 w 214"/>
                <a:gd name="T13" fmla="*/ 205 h 206"/>
                <a:gd name="T14" fmla="*/ 110 w 214"/>
                <a:gd name="T15" fmla="*/ 204 h 206"/>
                <a:gd name="T16" fmla="*/ 110 w 214"/>
                <a:gd name="T17" fmla="*/ 204 h 206"/>
                <a:gd name="T18" fmla="*/ 110 w 214"/>
                <a:gd name="T19" fmla="*/ 204 h 206"/>
                <a:gd name="T20" fmla="*/ 10 w 214"/>
                <a:gd name="T21" fmla="*/ 161 h 206"/>
                <a:gd name="T22" fmla="*/ 0 w 214"/>
                <a:gd name="T23" fmla="*/ 194 h 206"/>
                <a:gd name="T24" fmla="*/ 0 w 214"/>
                <a:gd name="T25" fmla="*/ 194 h 206"/>
                <a:gd name="T26" fmla="*/ 10 w 214"/>
                <a:gd name="T27" fmla="*/ 161 h 206"/>
                <a:gd name="T28" fmla="*/ 110 w 214"/>
                <a:gd name="T29" fmla="*/ 204 h 206"/>
                <a:gd name="T30" fmla="*/ 110 w 214"/>
                <a:gd name="T31" fmla="*/ 204 h 206"/>
                <a:gd name="T32" fmla="*/ 110 w 214"/>
                <a:gd name="T33" fmla="*/ 204 h 206"/>
                <a:gd name="T34" fmla="*/ 10 w 214"/>
                <a:gd name="T35" fmla="*/ 161 h 206"/>
                <a:gd name="T36" fmla="*/ 150 w 214"/>
                <a:gd name="T37" fmla="*/ 116 h 206"/>
                <a:gd name="T38" fmla="*/ 150 w 214"/>
                <a:gd name="T39" fmla="*/ 116 h 206"/>
                <a:gd name="T40" fmla="*/ 133 w 214"/>
                <a:gd name="T41" fmla="*/ 193 h 206"/>
                <a:gd name="T42" fmla="*/ 117 w 214"/>
                <a:gd name="T43" fmla="*/ 206 h 206"/>
                <a:gd name="T44" fmla="*/ 133 w 214"/>
                <a:gd name="T45" fmla="*/ 193 h 206"/>
                <a:gd name="T46" fmla="*/ 150 w 214"/>
                <a:gd name="T47" fmla="*/ 116 h 206"/>
                <a:gd name="T48" fmla="*/ 214 w 214"/>
                <a:gd name="T49" fmla="*/ 0 h 206"/>
                <a:gd name="T50" fmla="*/ 199 w 214"/>
                <a:gd name="T51" fmla="*/ 1 h 206"/>
                <a:gd name="T52" fmla="*/ 199 w 214"/>
                <a:gd name="T53" fmla="*/ 1 h 206"/>
                <a:gd name="T54" fmla="*/ 214 w 214"/>
                <a:gd name="T55" fmla="*/ 0 h 206"/>
                <a:gd name="T56" fmla="*/ 214 w 214"/>
                <a:gd name="T57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06">
                  <a:moveTo>
                    <a:pt x="117" y="206"/>
                  </a:move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moveTo>
                    <a:pt x="110" y="205"/>
                  </a:moveTo>
                  <a:cubicBezTo>
                    <a:pt x="110" y="205"/>
                    <a:pt x="110" y="205"/>
                    <a:pt x="110" y="205"/>
                  </a:cubicBezTo>
                  <a:cubicBezTo>
                    <a:pt x="110" y="205"/>
                    <a:pt x="110" y="205"/>
                    <a:pt x="110" y="205"/>
                  </a:cubicBezTo>
                  <a:moveTo>
                    <a:pt x="110" y="204"/>
                  </a:moveTo>
                  <a:cubicBezTo>
                    <a:pt x="110" y="204"/>
                    <a:pt x="110" y="204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moveTo>
                    <a:pt x="10" y="161"/>
                  </a:move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10" y="161"/>
                    <a:pt x="10" y="161"/>
                    <a:pt x="10" y="161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0" y="161"/>
                    <a:pt x="10" y="161"/>
                    <a:pt x="10" y="161"/>
                  </a:cubicBezTo>
                  <a:moveTo>
                    <a:pt x="150" y="116"/>
                  </a:moveTo>
                  <a:cubicBezTo>
                    <a:pt x="150" y="116"/>
                    <a:pt x="150" y="116"/>
                    <a:pt x="150" y="116"/>
                  </a:cubicBezTo>
                  <a:cubicBezTo>
                    <a:pt x="133" y="193"/>
                    <a:pt x="133" y="193"/>
                    <a:pt x="133" y="193"/>
                  </a:cubicBezTo>
                  <a:cubicBezTo>
                    <a:pt x="131" y="201"/>
                    <a:pt x="124" y="206"/>
                    <a:pt x="117" y="206"/>
                  </a:cubicBezTo>
                  <a:cubicBezTo>
                    <a:pt x="124" y="206"/>
                    <a:pt x="131" y="201"/>
                    <a:pt x="133" y="193"/>
                  </a:cubicBezTo>
                  <a:cubicBezTo>
                    <a:pt x="150" y="116"/>
                    <a:pt x="150" y="116"/>
                    <a:pt x="150" y="116"/>
                  </a:cubicBezTo>
                  <a:moveTo>
                    <a:pt x="214" y="0"/>
                  </a:moveTo>
                  <a:cubicBezTo>
                    <a:pt x="199" y="1"/>
                    <a:pt x="199" y="1"/>
                    <a:pt x="199" y="1"/>
                  </a:cubicBezTo>
                  <a:cubicBezTo>
                    <a:pt x="199" y="1"/>
                    <a:pt x="199" y="1"/>
                    <a:pt x="199" y="1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4" y="0"/>
                    <a:pt x="214" y="0"/>
                  </a:cubicBezTo>
                </a:path>
              </a:pathLst>
            </a:custGeom>
            <a:solidFill>
              <a:srgbClr val="A9CB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61">
              <a:extLst>
                <a:ext uri="{FF2B5EF4-FFF2-40B4-BE49-F238E27FC236}">
                  <a16:creationId xmlns:a16="http://schemas.microsoft.com/office/drawing/2014/main" id="{F0178EC9-3F66-4DB7-9CEF-7E27386BD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01" y="3033713"/>
              <a:ext cx="641350" cy="701675"/>
            </a:xfrm>
            <a:custGeom>
              <a:avLst/>
              <a:gdLst>
                <a:gd name="T0" fmla="*/ 214 w 214"/>
                <a:gd name="T1" fmla="*/ 0 h 235"/>
                <a:gd name="T2" fmla="*/ 199 w 214"/>
                <a:gd name="T3" fmla="*/ 1 h 235"/>
                <a:gd name="T4" fmla="*/ 183 w 214"/>
                <a:gd name="T5" fmla="*/ 85 h 235"/>
                <a:gd name="T6" fmla="*/ 154 w 214"/>
                <a:gd name="T7" fmla="*/ 115 h 235"/>
                <a:gd name="T8" fmla="*/ 150 w 214"/>
                <a:gd name="T9" fmla="*/ 116 h 235"/>
                <a:gd name="T10" fmla="*/ 133 w 214"/>
                <a:gd name="T11" fmla="*/ 193 h 235"/>
                <a:gd name="T12" fmla="*/ 117 w 214"/>
                <a:gd name="T13" fmla="*/ 206 h 235"/>
                <a:gd name="T14" fmla="*/ 117 w 214"/>
                <a:gd name="T15" fmla="*/ 206 h 235"/>
                <a:gd name="T16" fmla="*/ 117 w 214"/>
                <a:gd name="T17" fmla="*/ 206 h 235"/>
                <a:gd name="T18" fmla="*/ 117 w 214"/>
                <a:gd name="T19" fmla="*/ 206 h 235"/>
                <a:gd name="T20" fmla="*/ 117 w 214"/>
                <a:gd name="T21" fmla="*/ 206 h 235"/>
                <a:gd name="T22" fmla="*/ 110 w 214"/>
                <a:gd name="T23" fmla="*/ 205 h 235"/>
                <a:gd name="T24" fmla="*/ 110 w 214"/>
                <a:gd name="T25" fmla="*/ 205 h 235"/>
                <a:gd name="T26" fmla="*/ 110 w 214"/>
                <a:gd name="T27" fmla="*/ 204 h 235"/>
                <a:gd name="T28" fmla="*/ 110 w 214"/>
                <a:gd name="T29" fmla="*/ 204 h 235"/>
                <a:gd name="T30" fmla="*/ 110 w 214"/>
                <a:gd name="T31" fmla="*/ 204 h 235"/>
                <a:gd name="T32" fmla="*/ 110 w 214"/>
                <a:gd name="T33" fmla="*/ 204 h 235"/>
                <a:gd name="T34" fmla="*/ 10 w 214"/>
                <a:gd name="T35" fmla="*/ 161 h 235"/>
                <a:gd name="T36" fmla="*/ 0 w 214"/>
                <a:gd name="T37" fmla="*/ 194 h 235"/>
                <a:gd name="T38" fmla="*/ 124 w 214"/>
                <a:gd name="T39" fmla="*/ 235 h 235"/>
                <a:gd name="T40" fmla="*/ 125 w 214"/>
                <a:gd name="T41" fmla="*/ 235 h 235"/>
                <a:gd name="T42" fmla="*/ 169 w 214"/>
                <a:gd name="T43" fmla="*/ 167 h 235"/>
                <a:gd name="T44" fmla="*/ 214 w 214"/>
                <a:gd name="T45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" h="235">
                  <a:moveTo>
                    <a:pt x="214" y="0"/>
                  </a:moveTo>
                  <a:cubicBezTo>
                    <a:pt x="199" y="1"/>
                    <a:pt x="199" y="1"/>
                    <a:pt x="199" y="1"/>
                  </a:cubicBezTo>
                  <a:cubicBezTo>
                    <a:pt x="199" y="1"/>
                    <a:pt x="188" y="65"/>
                    <a:pt x="183" y="85"/>
                  </a:cubicBezTo>
                  <a:cubicBezTo>
                    <a:pt x="179" y="103"/>
                    <a:pt x="169" y="113"/>
                    <a:pt x="154" y="115"/>
                  </a:cubicBezTo>
                  <a:cubicBezTo>
                    <a:pt x="153" y="115"/>
                    <a:pt x="151" y="116"/>
                    <a:pt x="150" y="116"/>
                  </a:cubicBezTo>
                  <a:cubicBezTo>
                    <a:pt x="133" y="193"/>
                    <a:pt x="133" y="193"/>
                    <a:pt x="133" y="193"/>
                  </a:cubicBezTo>
                  <a:cubicBezTo>
                    <a:pt x="131" y="201"/>
                    <a:pt x="124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115" y="206"/>
                    <a:pt x="112" y="205"/>
                    <a:pt x="110" y="205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0" y="205"/>
                    <a:pt x="110" y="205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10" y="204"/>
                    <a:pt x="110" y="204"/>
                    <a:pt x="110" y="204"/>
                  </a:cubicBezTo>
                  <a:cubicBezTo>
                    <a:pt x="10" y="161"/>
                    <a:pt x="10" y="161"/>
                    <a:pt x="10" y="161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51" y="215"/>
                    <a:pt x="112" y="234"/>
                    <a:pt x="124" y="235"/>
                  </a:cubicBezTo>
                  <a:cubicBezTo>
                    <a:pt x="125" y="235"/>
                    <a:pt x="125" y="235"/>
                    <a:pt x="125" y="235"/>
                  </a:cubicBezTo>
                  <a:cubicBezTo>
                    <a:pt x="140" y="235"/>
                    <a:pt x="152" y="212"/>
                    <a:pt x="169" y="167"/>
                  </a:cubicBezTo>
                  <a:cubicBezTo>
                    <a:pt x="179" y="138"/>
                    <a:pt x="200" y="57"/>
                    <a:pt x="214" y="0"/>
                  </a:cubicBezTo>
                </a:path>
              </a:pathLst>
            </a:custGeom>
            <a:solidFill>
              <a:srgbClr val="1A64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62">
              <a:extLst>
                <a:ext uri="{FF2B5EF4-FFF2-40B4-BE49-F238E27FC236}">
                  <a16:creationId xmlns:a16="http://schemas.microsoft.com/office/drawing/2014/main" id="{36BC8B1A-1C14-4797-9350-F837877E8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3036888"/>
              <a:ext cx="71438" cy="4763"/>
            </a:xfrm>
            <a:custGeom>
              <a:avLst/>
              <a:gdLst>
                <a:gd name="T0" fmla="*/ 45 w 45"/>
                <a:gd name="T1" fmla="*/ 0 h 3"/>
                <a:gd name="T2" fmla="*/ 0 w 45"/>
                <a:gd name="T3" fmla="*/ 3 h 3"/>
                <a:gd name="T4" fmla="*/ 41 w 45"/>
                <a:gd name="T5" fmla="*/ 0 h 3"/>
                <a:gd name="T6" fmla="*/ 41 w 45"/>
                <a:gd name="T7" fmla="*/ 0 h 3"/>
                <a:gd name="T8" fmla="*/ 45 w 4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">
                  <a:moveTo>
                    <a:pt x="45" y="0"/>
                  </a:moveTo>
                  <a:lnTo>
                    <a:pt x="0" y="3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A9CB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63">
              <a:extLst>
                <a:ext uri="{FF2B5EF4-FFF2-40B4-BE49-F238E27FC236}">
                  <a16:creationId xmlns:a16="http://schemas.microsoft.com/office/drawing/2014/main" id="{540A0F4F-207D-48D4-885E-914A40656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3036888"/>
              <a:ext cx="71438" cy="4763"/>
            </a:xfrm>
            <a:custGeom>
              <a:avLst/>
              <a:gdLst>
                <a:gd name="T0" fmla="*/ 45 w 45"/>
                <a:gd name="T1" fmla="*/ 0 h 3"/>
                <a:gd name="T2" fmla="*/ 0 w 45"/>
                <a:gd name="T3" fmla="*/ 3 h 3"/>
                <a:gd name="T4" fmla="*/ 41 w 45"/>
                <a:gd name="T5" fmla="*/ 0 h 3"/>
                <a:gd name="T6" fmla="*/ 41 w 45"/>
                <a:gd name="T7" fmla="*/ 0 h 3"/>
                <a:gd name="T8" fmla="*/ 45 w 45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">
                  <a:moveTo>
                    <a:pt x="45" y="0"/>
                  </a:moveTo>
                  <a:lnTo>
                    <a:pt x="0" y="3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64">
              <a:extLst>
                <a:ext uri="{FF2B5EF4-FFF2-40B4-BE49-F238E27FC236}">
                  <a16:creationId xmlns:a16="http://schemas.microsoft.com/office/drawing/2014/main" id="{115E41B8-37B9-42AE-8479-5BB86F9962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8213" y="3036888"/>
              <a:ext cx="125413" cy="325438"/>
            </a:xfrm>
            <a:custGeom>
              <a:avLst/>
              <a:gdLst>
                <a:gd name="T0" fmla="*/ 42 w 42"/>
                <a:gd name="T1" fmla="*/ 0 h 109"/>
                <a:gd name="T2" fmla="*/ 20 w 42"/>
                <a:gd name="T3" fmla="*/ 2 h 109"/>
                <a:gd name="T4" fmla="*/ 22 w 42"/>
                <a:gd name="T5" fmla="*/ 8 h 109"/>
                <a:gd name="T6" fmla="*/ 0 w 42"/>
                <a:gd name="T7" fmla="*/ 109 h 109"/>
                <a:gd name="T8" fmla="*/ 26 w 42"/>
                <a:gd name="T9" fmla="*/ 83 h 109"/>
                <a:gd name="T10" fmla="*/ 42 w 42"/>
                <a:gd name="T1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109">
                  <a:moveTo>
                    <a:pt x="42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14" y="108"/>
                    <a:pt x="22" y="100"/>
                    <a:pt x="26" y="83"/>
                  </a:cubicBezTo>
                  <a:cubicBezTo>
                    <a:pt x="31" y="63"/>
                    <a:pt x="42" y="1"/>
                    <a:pt x="42" y="0"/>
                  </a:cubicBezTo>
                </a:path>
              </a:pathLst>
            </a:custGeom>
            <a:solidFill>
              <a:srgbClr val="1A64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65">
              <a:extLst>
                <a:ext uri="{FF2B5EF4-FFF2-40B4-BE49-F238E27FC236}">
                  <a16:creationId xmlns:a16="http://schemas.microsoft.com/office/drawing/2014/main" id="{85A1A26E-A516-49DE-B37C-25EABD020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3036888"/>
              <a:ext cx="147638" cy="342900"/>
            </a:xfrm>
            <a:custGeom>
              <a:avLst/>
              <a:gdLst>
                <a:gd name="T0" fmla="*/ 49 w 49"/>
                <a:gd name="T1" fmla="*/ 0 h 115"/>
                <a:gd name="T2" fmla="*/ 46 w 49"/>
                <a:gd name="T3" fmla="*/ 0 h 115"/>
                <a:gd name="T4" fmla="*/ 44 w 49"/>
                <a:gd name="T5" fmla="*/ 0 h 115"/>
                <a:gd name="T6" fmla="*/ 44 w 49"/>
                <a:gd name="T7" fmla="*/ 0 h 115"/>
                <a:gd name="T8" fmla="*/ 28 w 49"/>
                <a:gd name="T9" fmla="*/ 83 h 115"/>
                <a:gd name="T10" fmla="*/ 2 w 49"/>
                <a:gd name="T11" fmla="*/ 109 h 115"/>
                <a:gd name="T12" fmla="*/ 2 w 49"/>
                <a:gd name="T13" fmla="*/ 109 h 115"/>
                <a:gd name="T14" fmla="*/ 0 w 49"/>
                <a:gd name="T15" fmla="*/ 115 h 115"/>
                <a:gd name="T16" fmla="*/ 0 w 49"/>
                <a:gd name="T17" fmla="*/ 115 h 115"/>
                <a:gd name="T18" fmla="*/ 4 w 49"/>
                <a:gd name="T19" fmla="*/ 114 h 115"/>
                <a:gd name="T20" fmla="*/ 33 w 49"/>
                <a:gd name="T21" fmla="*/ 84 h 115"/>
                <a:gd name="T22" fmla="*/ 49 w 49"/>
                <a:gd name="T23" fmla="*/ 0 h 115"/>
                <a:gd name="T24" fmla="*/ 49 w 49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115">
                  <a:moveTo>
                    <a:pt x="49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1"/>
                    <a:pt x="33" y="63"/>
                    <a:pt x="28" y="83"/>
                  </a:cubicBezTo>
                  <a:cubicBezTo>
                    <a:pt x="24" y="100"/>
                    <a:pt x="16" y="108"/>
                    <a:pt x="2" y="109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1" y="115"/>
                    <a:pt x="3" y="114"/>
                    <a:pt x="4" y="114"/>
                  </a:cubicBezTo>
                  <a:cubicBezTo>
                    <a:pt x="19" y="112"/>
                    <a:pt x="29" y="102"/>
                    <a:pt x="33" y="84"/>
                  </a:cubicBezTo>
                  <a:cubicBezTo>
                    <a:pt x="38" y="64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solidFill>
              <a:srgbClr val="075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66">
              <a:extLst>
                <a:ext uri="{FF2B5EF4-FFF2-40B4-BE49-F238E27FC236}">
                  <a16:creationId xmlns:a16="http://schemas.microsoft.com/office/drawing/2014/main" id="{67941FAE-1082-49D7-AD27-689847693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76" y="2498726"/>
              <a:ext cx="415925" cy="561975"/>
            </a:xfrm>
            <a:custGeom>
              <a:avLst/>
              <a:gdLst>
                <a:gd name="T0" fmla="*/ 29 w 139"/>
                <a:gd name="T1" fmla="*/ 188 h 188"/>
                <a:gd name="T2" fmla="*/ 131 w 139"/>
                <a:gd name="T3" fmla="*/ 183 h 188"/>
                <a:gd name="T4" fmla="*/ 125 w 139"/>
                <a:gd name="T5" fmla="*/ 17 h 188"/>
                <a:gd name="T6" fmla="*/ 57 w 139"/>
                <a:gd name="T7" fmla="*/ 5 h 188"/>
                <a:gd name="T8" fmla="*/ 6 w 139"/>
                <a:gd name="T9" fmla="*/ 40 h 188"/>
                <a:gd name="T10" fmla="*/ 29 w 139"/>
                <a:gd name="T11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188">
                  <a:moveTo>
                    <a:pt x="29" y="188"/>
                  </a:moveTo>
                  <a:cubicBezTo>
                    <a:pt x="29" y="188"/>
                    <a:pt x="109" y="181"/>
                    <a:pt x="131" y="183"/>
                  </a:cubicBezTo>
                  <a:cubicBezTo>
                    <a:pt x="131" y="183"/>
                    <a:pt x="139" y="31"/>
                    <a:pt x="125" y="17"/>
                  </a:cubicBezTo>
                  <a:cubicBezTo>
                    <a:pt x="110" y="2"/>
                    <a:pt x="76" y="0"/>
                    <a:pt x="57" y="5"/>
                  </a:cubicBezTo>
                  <a:cubicBezTo>
                    <a:pt x="38" y="10"/>
                    <a:pt x="12" y="14"/>
                    <a:pt x="6" y="40"/>
                  </a:cubicBezTo>
                  <a:cubicBezTo>
                    <a:pt x="0" y="66"/>
                    <a:pt x="14" y="137"/>
                    <a:pt x="29" y="188"/>
                  </a:cubicBezTo>
                  <a:close/>
                </a:path>
              </a:pathLst>
            </a:custGeom>
            <a:solidFill>
              <a:srgbClr val="A19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67">
              <a:extLst>
                <a:ext uri="{FF2B5EF4-FFF2-40B4-BE49-F238E27FC236}">
                  <a16:creationId xmlns:a16="http://schemas.microsoft.com/office/drawing/2014/main" id="{EE34B8A6-072E-495A-ADC4-E6DA073EA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563" y="2668588"/>
              <a:ext cx="131763" cy="365125"/>
            </a:xfrm>
            <a:custGeom>
              <a:avLst/>
              <a:gdLst>
                <a:gd name="T0" fmla="*/ 18 w 44"/>
                <a:gd name="T1" fmla="*/ 122 h 122"/>
                <a:gd name="T2" fmla="*/ 42 w 44"/>
                <a:gd name="T3" fmla="*/ 52 h 122"/>
                <a:gd name="T4" fmla="*/ 37 w 44"/>
                <a:gd name="T5" fmla="*/ 0 h 122"/>
                <a:gd name="T6" fmla="*/ 22 w 44"/>
                <a:gd name="T7" fmla="*/ 29 h 122"/>
                <a:gd name="T8" fmla="*/ 0 w 44"/>
                <a:gd name="T9" fmla="*/ 41 h 122"/>
                <a:gd name="T10" fmla="*/ 18 w 44"/>
                <a:gd name="T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22">
                  <a:moveTo>
                    <a:pt x="18" y="122"/>
                  </a:moveTo>
                  <a:cubicBezTo>
                    <a:pt x="30" y="100"/>
                    <a:pt x="44" y="70"/>
                    <a:pt x="42" y="52"/>
                  </a:cubicBezTo>
                  <a:cubicBezTo>
                    <a:pt x="41" y="33"/>
                    <a:pt x="39" y="14"/>
                    <a:pt x="37" y="0"/>
                  </a:cubicBezTo>
                  <a:cubicBezTo>
                    <a:pt x="36" y="11"/>
                    <a:pt x="33" y="22"/>
                    <a:pt x="22" y="29"/>
                  </a:cubicBezTo>
                  <a:cubicBezTo>
                    <a:pt x="16" y="32"/>
                    <a:pt x="8" y="37"/>
                    <a:pt x="0" y="41"/>
                  </a:cubicBezTo>
                  <a:cubicBezTo>
                    <a:pt x="4" y="67"/>
                    <a:pt x="10" y="96"/>
                    <a:pt x="18" y="122"/>
                  </a:cubicBezTo>
                  <a:close/>
                </a:path>
              </a:pathLst>
            </a:custGeom>
            <a:solidFill>
              <a:srgbClr val="736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68">
              <a:extLst>
                <a:ext uri="{FF2B5EF4-FFF2-40B4-BE49-F238E27FC236}">
                  <a16:creationId xmlns:a16="http://schemas.microsoft.com/office/drawing/2014/main" id="{2125FCE5-D714-4A94-8A1F-B42F583D6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0613" y="2295526"/>
              <a:ext cx="141288" cy="238125"/>
            </a:xfrm>
            <a:custGeom>
              <a:avLst/>
              <a:gdLst>
                <a:gd name="T0" fmla="*/ 0 w 89"/>
                <a:gd name="T1" fmla="*/ 150 h 150"/>
                <a:gd name="T2" fmla="*/ 19 w 89"/>
                <a:gd name="T3" fmla="*/ 0 h 150"/>
                <a:gd name="T4" fmla="*/ 89 w 89"/>
                <a:gd name="T5" fmla="*/ 9 h 150"/>
                <a:gd name="T6" fmla="*/ 76 w 89"/>
                <a:gd name="T7" fmla="*/ 145 h 150"/>
                <a:gd name="T8" fmla="*/ 0 w 89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150">
                  <a:moveTo>
                    <a:pt x="0" y="150"/>
                  </a:moveTo>
                  <a:lnTo>
                    <a:pt x="19" y="0"/>
                  </a:lnTo>
                  <a:lnTo>
                    <a:pt x="89" y="9"/>
                  </a:lnTo>
                  <a:lnTo>
                    <a:pt x="76" y="145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69">
              <a:extLst>
                <a:ext uri="{FF2B5EF4-FFF2-40B4-BE49-F238E27FC236}">
                  <a16:creationId xmlns:a16="http://schemas.microsoft.com/office/drawing/2014/main" id="{AA44FD4E-DC0F-4B39-8347-1AED57A84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251" y="2295526"/>
              <a:ext cx="120650" cy="193675"/>
            </a:xfrm>
            <a:custGeom>
              <a:avLst/>
              <a:gdLst>
                <a:gd name="T0" fmla="*/ 40 w 40"/>
                <a:gd name="T1" fmla="*/ 5 h 65"/>
                <a:gd name="T2" fmla="*/ 3 w 40"/>
                <a:gd name="T3" fmla="*/ 0 h 65"/>
                <a:gd name="T4" fmla="*/ 0 w 40"/>
                <a:gd name="T5" fmla="*/ 22 h 65"/>
                <a:gd name="T6" fmla="*/ 34 w 40"/>
                <a:gd name="T7" fmla="*/ 65 h 65"/>
                <a:gd name="T8" fmla="*/ 40 w 40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65">
                  <a:moveTo>
                    <a:pt x="40" y="5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19" y="58"/>
                    <a:pt x="34" y="65"/>
                  </a:cubicBezTo>
                  <a:lnTo>
                    <a:pt x="40" y="5"/>
                  </a:ln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70">
              <a:extLst>
                <a:ext uri="{FF2B5EF4-FFF2-40B4-BE49-F238E27FC236}">
                  <a16:creationId xmlns:a16="http://schemas.microsoft.com/office/drawing/2014/main" id="{074E7FC7-D0B0-439F-A21D-AF1A731B4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2133601"/>
              <a:ext cx="236538" cy="268288"/>
            </a:xfrm>
            <a:custGeom>
              <a:avLst/>
              <a:gdLst>
                <a:gd name="T0" fmla="*/ 21 w 79"/>
                <a:gd name="T1" fmla="*/ 76 h 90"/>
                <a:gd name="T2" fmla="*/ 65 w 79"/>
                <a:gd name="T3" fmla="*/ 88 h 90"/>
                <a:gd name="T4" fmla="*/ 78 w 79"/>
                <a:gd name="T5" fmla="*/ 60 h 90"/>
                <a:gd name="T6" fmla="*/ 33 w 79"/>
                <a:gd name="T7" fmla="*/ 18 h 90"/>
                <a:gd name="T8" fmla="*/ 21 w 79"/>
                <a:gd name="T9" fmla="*/ 7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90">
                  <a:moveTo>
                    <a:pt x="21" y="76"/>
                  </a:moveTo>
                  <a:cubicBezTo>
                    <a:pt x="29" y="84"/>
                    <a:pt x="51" y="90"/>
                    <a:pt x="65" y="88"/>
                  </a:cubicBezTo>
                  <a:cubicBezTo>
                    <a:pt x="78" y="87"/>
                    <a:pt x="79" y="77"/>
                    <a:pt x="78" y="60"/>
                  </a:cubicBezTo>
                  <a:cubicBezTo>
                    <a:pt x="77" y="42"/>
                    <a:pt x="65" y="0"/>
                    <a:pt x="33" y="18"/>
                  </a:cubicBezTo>
                  <a:cubicBezTo>
                    <a:pt x="0" y="35"/>
                    <a:pt x="12" y="66"/>
                    <a:pt x="21" y="76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71">
              <a:extLst>
                <a:ext uri="{FF2B5EF4-FFF2-40B4-BE49-F238E27FC236}">
                  <a16:creationId xmlns:a16="http://schemas.microsoft.com/office/drawing/2014/main" id="{B4E4D6F0-8EED-4B7C-91EE-68C426C61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626" y="2268538"/>
              <a:ext cx="11113" cy="11113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0 h 4"/>
                <a:gd name="T4" fmla="*/ 0 w 4"/>
                <a:gd name="T5" fmla="*/ 2 h 4"/>
                <a:gd name="T6" fmla="*/ 2 w 4"/>
                <a:gd name="T7" fmla="*/ 4 h 4"/>
                <a:gd name="T8" fmla="*/ 4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" y="4"/>
                    <a:pt x="4" y="3"/>
                    <a:pt x="4" y="2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72">
              <a:extLst>
                <a:ext uri="{FF2B5EF4-FFF2-40B4-BE49-F238E27FC236}">
                  <a16:creationId xmlns:a16="http://schemas.microsoft.com/office/drawing/2014/main" id="{3D01F0F1-4064-4523-A07A-4C80C857A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1426" y="2255838"/>
              <a:ext cx="14288" cy="12700"/>
            </a:xfrm>
            <a:custGeom>
              <a:avLst/>
              <a:gdLst>
                <a:gd name="T0" fmla="*/ 4 w 5"/>
                <a:gd name="T1" fmla="*/ 2 h 4"/>
                <a:gd name="T2" fmla="*/ 2 w 5"/>
                <a:gd name="T3" fmla="*/ 0 h 4"/>
                <a:gd name="T4" fmla="*/ 0 w 5"/>
                <a:gd name="T5" fmla="*/ 2 h 4"/>
                <a:gd name="T6" fmla="*/ 3 w 5"/>
                <a:gd name="T7" fmla="*/ 4 h 4"/>
                <a:gd name="T8" fmla="*/ 4 w 5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3" y="4"/>
                  </a:cubicBezTo>
                  <a:cubicBezTo>
                    <a:pt x="4" y="4"/>
                    <a:pt x="5" y="3"/>
                    <a:pt x="4" y="2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73">
              <a:extLst>
                <a:ext uri="{FF2B5EF4-FFF2-40B4-BE49-F238E27FC236}">
                  <a16:creationId xmlns:a16="http://schemas.microsoft.com/office/drawing/2014/main" id="{DB1C2616-5E8E-4B77-9DB7-91ECD9DE2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8726" y="2259013"/>
              <a:ext cx="30163" cy="57150"/>
            </a:xfrm>
            <a:custGeom>
              <a:avLst/>
              <a:gdLst>
                <a:gd name="T0" fmla="*/ 5 w 10"/>
                <a:gd name="T1" fmla="*/ 19 h 19"/>
                <a:gd name="T2" fmla="*/ 3 w 10"/>
                <a:gd name="T3" fmla="*/ 19 h 19"/>
                <a:gd name="T4" fmla="*/ 2 w 10"/>
                <a:gd name="T5" fmla="*/ 18 h 19"/>
                <a:gd name="T6" fmla="*/ 3 w 10"/>
                <a:gd name="T7" fmla="*/ 17 h 19"/>
                <a:gd name="T8" fmla="*/ 8 w 10"/>
                <a:gd name="T9" fmla="*/ 15 h 19"/>
                <a:gd name="T10" fmla="*/ 8 w 10"/>
                <a:gd name="T11" fmla="*/ 15 h 19"/>
                <a:gd name="T12" fmla="*/ 1 w 10"/>
                <a:gd name="T13" fmla="*/ 2 h 19"/>
                <a:gd name="T14" fmla="*/ 1 w 10"/>
                <a:gd name="T15" fmla="*/ 0 h 19"/>
                <a:gd name="T16" fmla="*/ 3 w 10"/>
                <a:gd name="T17" fmla="*/ 1 h 19"/>
                <a:gd name="T18" fmla="*/ 10 w 10"/>
                <a:gd name="T19" fmla="*/ 14 h 19"/>
                <a:gd name="T20" fmla="*/ 10 w 10"/>
                <a:gd name="T21" fmla="*/ 17 h 19"/>
                <a:gd name="T22" fmla="*/ 5 w 10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9">
                  <a:moveTo>
                    <a:pt x="5" y="19"/>
                  </a:moveTo>
                  <a:cubicBezTo>
                    <a:pt x="4" y="19"/>
                    <a:pt x="4" y="19"/>
                    <a:pt x="3" y="19"/>
                  </a:cubicBezTo>
                  <a:cubicBezTo>
                    <a:pt x="3" y="19"/>
                    <a:pt x="2" y="19"/>
                    <a:pt x="2" y="18"/>
                  </a:cubicBezTo>
                  <a:cubicBezTo>
                    <a:pt x="2" y="17"/>
                    <a:pt x="3" y="17"/>
                    <a:pt x="3" y="17"/>
                  </a:cubicBezTo>
                  <a:cubicBezTo>
                    <a:pt x="6" y="17"/>
                    <a:pt x="8" y="16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3"/>
                    <a:pt x="1" y="2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9" y="12"/>
                    <a:pt x="10" y="14"/>
                  </a:cubicBezTo>
                  <a:cubicBezTo>
                    <a:pt x="10" y="15"/>
                    <a:pt x="10" y="16"/>
                    <a:pt x="10" y="17"/>
                  </a:cubicBezTo>
                  <a:cubicBezTo>
                    <a:pt x="9" y="18"/>
                    <a:pt x="7" y="19"/>
                    <a:pt x="5" y="19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74">
              <a:extLst>
                <a:ext uri="{FF2B5EF4-FFF2-40B4-BE49-F238E27FC236}">
                  <a16:creationId xmlns:a16="http://schemas.microsoft.com/office/drawing/2014/main" id="{A5E6269E-E9E6-4258-8A1D-D44E0B868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2213" y="2327276"/>
              <a:ext cx="60325" cy="15875"/>
            </a:xfrm>
            <a:custGeom>
              <a:avLst/>
              <a:gdLst>
                <a:gd name="T0" fmla="*/ 11 w 20"/>
                <a:gd name="T1" fmla="*/ 5 h 5"/>
                <a:gd name="T2" fmla="*/ 1 w 20"/>
                <a:gd name="T3" fmla="*/ 3 h 5"/>
                <a:gd name="T4" fmla="*/ 0 w 20"/>
                <a:gd name="T5" fmla="*/ 1 h 5"/>
                <a:gd name="T6" fmla="*/ 2 w 20"/>
                <a:gd name="T7" fmla="*/ 1 h 5"/>
                <a:gd name="T8" fmla="*/ 18 w 20"/>
                <a:gd name="T9" fmla="*/ 1 h 5"/>
                <a:gd name="T10" fmla="*/ 20 w 20"/>
                <a:gd name="T11" fmla="*/ 1 h 5"/>
                <a:gd name="T12" fmla="*/ 20 w 20"/>
                <a:gd name="T13" fmla="*/ 3 h 5"/>
                <a:gd name="T14" fmla="*/ 11 w 20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5">
                  <a:moveTo>
                    <a:pt x="11" y="5"/>
                  </a:moveTo>
                  <a:cubicBezTo>
                    <a:pt x="8" y="5"/>
                    <a:pt x="4" y="4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7" y="3"/>
                    <a:pt x="15" y="4"/>
                    <a:pt x="18" y="1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0" y="1"/>
                    <a:pt x="20" y="2"/>
                    <a:pt x="20" y="3"/>
                  </a:cubicBezTo>
                  <a:cubicBezTo>
                    <a:pt x="18" y="5"/>
                    <a:pt x="15" y="5"/>
                    <a:pt x="11" y="5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75">
              <a:extLst>
                <a:ext uri="{FF2B5EF4-FFF2-40B4-BE49-F238E27FC236}">
                  <a16:creationId xmlns:a16="http://schemas.microsoft.com/office/drawing/2014/main" id="{4B871BD3-B9CE-4948-825F-3551B20A2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6476" y="2092326"/>
              <a:ext cx="306388" cy="241300"/>
            </a:xfrm>
            <a:custGeom>
              <a:avLst/>
              <a:gdLst>
                <a:gd name="T0" fmla="*/ 34 w 102"/>
                <a:gd name="T1" fmla="*/ 81 h 81"/>
                <a:gd name="T2" fmla="*/ 44 w 102"/>
                <a:gd name="T3" fmla="*/ 47 h 81"/>
                <a:gd name="T4" fmla="*/ 67 w 102"/>
                <a:gd name="T5" fmla="*/ 39 h 81"/>
                <a:gd name="T6" fmla="*/ 81 w 102"/>
                <a:gd name="T7" fmla="*/ 28 h 81"/>
                <a:gd name="T8" fmla="*/ 75 w 102"/>
                <a:gd name="T9" fmla="*/ 14 h 81"/>
                <a:gd name="T10" fmla="*/ 62 w 102"/>
                <a:gd name="T11" fmla="*/ 9 h 81"/>
                <a:gd name="T12" fmla="*/ 16 w 102"/>
                <a:gd name="T13" fmla="*/ 33 h 81"/>
                <a:gd name="T14" fmla="*/ 34 w 102"/>
                <a:gd name="T1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1">
                  <a:moveTo>
                    <a:pt x="34" y="81"/>
                  </a:moveTo>
                  <a:cubicBezTo>
                    <a:pt x="34" y="81"/>
                    <a:pt x="56" y="66"/>
                    <a:pt x="44" y="47"/>
                  </a:cubicBezTo>
                  <a:cubicBezTo>
                    <a:pt x="44" y="47"/>
                    <a:pt x="79" y="51"/>
                    <a:pt x="67" y="39"/>
                  </a:cubicBezTo>
                  <a:cubicBezTo>
                    <a:pt x="67" y="39"/>
                    <a:pt x="102" y="42"/>
                    <a:pt x="81" y="28"/>
                  </a:cubicBezTo>
                  <a:cubicBezTo>
                    <a:pt x="81" y="28"/>
                    <a:pt x="94" y="12"/>
                    <a:pt x="75" y="14"/>
                  </a:cubicBezTo>
                  <a:cubicBezTo>
                    <a:pt x="75" y="14"/>
                    <a:pt x="75" y="0"/>
                    <a:pt x="62" y="9"/>
                  </a:cubicBezTo>
                  <a:cubicBezTo>
                    <a:pt x="48" y="18"/>
                    <a:pt x="33" y="9"/>
                    <a:pt x="16" y="33"/>
                  </a:cubicBezTo>
                  <a:cubicBezTo>
                    <a:pt x="0" y="57"/>
                    <a:pt x="8" y="81"/>
                    <a:pt x="34" y="81"/>
                  </a:cubicBez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76">
              <a:extLst>
                <a:ext uri="{FF2B5EF4-FFF2-40B4-BE49-F238E27FC236}">
                  <a16:creationId xmlns:a16="http://schemas.microsoft.com/office/drawing/2014/main" id="{F614FD02-612D-47DA-A34C-C62BEF3A8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2298701"/>
              <a:ext cx="71438" cy="79375"/>
            </a:xfrm>
            <a:custGeom>
              <a:avLst/>
              <a:gdLst>
                <a:gd name="T0" fmla="*/ 21 w 24"/>
                <a:gd name="T1" fmla="*/ 8 h 27"/>
                <a:gd name="T2" fmla="*/ 5 w 24"/>
                <a:gd name="T3" fmla="*/ 5 h 27"/>
                <a:gd name="T4" fmla="*/ 5 w 24"/>
                <a:gd name="T5" fmla="*/ 20 h 27"/>
                <a:gd name="T6" fmla="*/ 20 w 24"/>
                <a:gd name="T7" fmla="*/ 20 h 27"/>
                <a:gd name="T8" fmla="*/ 21 w 24"/>
                <a:gd name="T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7">
                  <a:moveTo>
                    <a:pt x="21" y="8"/>
                  </a:moveTo>
                  <a:cubicBezTo>
                    <a:pt x="16" y="2"/>
                    <a:pt x="11" y="0"/>
                    <a:pt x="5" y="5"/>
                  </a:cubicBezTo>
                  <a:cubicBezTo>
                    <a:pt x="0" y="10"/>
                    <a:pt x="0" y="12"/>
                    <a:pt x="5" y="20"/>
                  </a:cubicBezTo>
                  <a:cubicBezTo>
                    <a:pt x="11" y="27"/>
                    <a:pt x="18" y="24"/>
                    <a:pt x="20" y="20"/>
                  </a:cubicBezTo>
                  <a:cubicBezTo>
                    <a:pt x="23" y="16"/>
                    <a:pt x="24" y="11"/>
                    <a:pt x="21" y="8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77">
              <a:extLst>
                <a:ext uri="{FF2B5EF4-FFF2-40B4-BE49-F238E27FC236}">
                  <a16:creationId xmlns:a16="http://schemas.microsoft.com/office/drawing/2014/main" id="{9C53EDD2-7B53-4D40-A6CD-8743E8104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976" y="2316163"/>
              <a:ext cx="47625" cy="26988"/>
            </a:xfrm>
            <a:custGeom>
              <a:avLst/>
              <a:gdLst>
                <a:gd name="T0" fmla="*/ 16 w 16"/>
                <a:gd name="T1" fmla="*/ 9 h 9"/>
                <a:gd name="T2" fmla="*/ 15 w 16"/>
                <a:gd name="T3" fmla="*/ 9 h 9"/>
                <a:gd name="T4" fmla="*/ 8 w 16"/>
                <a:gd name="T5" fmla="*/ 7 h 9"/>
                <a:gd name="T6" fmla="*/ 6 w 16"/>
                <a:gd name="T7" fmla="*/ 9 h 9"/>
                <a:gd name="T8" fmla="*/ 5 w 16"/>
                <a:gd name="T9" fmla="*/ 8 h 9"/>
                <a:gd name="T10" fmla="*/ 7 w 16"/>
                <a:gd name="T11" fmla="*/ 6 h 9"/>
                <a:gd name="T12" fmla="*/ 13 w 16"/>
                <a:gd name="T13" fmla="*/ 6 h 9"/>
                <a:gd name="T14" fmla="*/ 5 w 16"/>
                <a:gd name="T15" fmla="*/ 2 h 9"/>
                <a:gd name="T16" fmla="*/ 2 w 16"/>
                <a:gd name="T17" fmla="*/ 7 h 9"/>
                <a:gd name="T18" fmla="*/ 0 w 16"/>
                <a:gd name="T19" fmla="*/ 7 h 9"/>
                <a:gd name="T20" fmla="*/ 4 w 16"/>
                <a:gd name="T21" fmla="*/ 0 h 9"/>
                <a:gd name="T22" fmla="*/ 16 w 16"/>
                <a:gd name="T23" fmla="*/ 8 h 9"/>
                <a:gd name="T24" fmla="*/ 16 w 16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4" y="8"/>
                    <a:pt x="10" y="6"/>
                    <a:pt x="8" y="7"/>
                  </a:cubicBezTo>
                  <a:cubicBezTo>
                    <a:pt x="7" y="7"/>
                    <a:pt x="7" y="8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11" y="5"/>
                    <a:pt x="13" y="6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3" y="3"/>
                    <a:pt x="2" y="5"/>
                    <a:pt x="2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4"/>
                    <a:pt x="1" y="1"/>
                    <a:pt x="4" y="0"/>
                  </a:cubicBezTo>
                  <a:cubicBezTo>
                    <a:pt x="6" y="0"/>
                    <a:pt x="11" y="0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78">
              <a:extLst>
                <a:ext uri="{FF2B5EF4-FFF2-40B4-BE49-F238E27FC236}">
                  <a16:creationId xmlns:a16="http://schemas.microsoft.com/office/drawing/2014/main" id="{0C509BC7-D083-43FF-B12C-5C9B48D1B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9976" y="2471738"/>
              <a:ext cx="158750" cy="163513"/>
            </a:xfrm>
            <a:custGeom>
              <a:avLst/>
              <a:gdLst>
                <a:gd name="T0" fmla="*/ 11 w 100"/>
                <a:gd name="T1" fmla="*/ 0 h 103"/>
                <a:gd name="T2" fmla="*/ 59 w 100"/>
                <a:gd name="T3" fmla="*/ 22 h 103"/>
                <a:gd name="T4" fmla="*/ 100 w 100"/>
                <a:gd name="T5" fmla="*/ 2 h 103"/>
                <a:gd name="T6" fmla="*/ 100 w 100"/>
                <a:gd name="T7" fmla="*/ 45 h 103"/>
                <a:gd name="T8" fmla="*/ 77 w 100"/>
                <a:gd name="T9" fmla="*/ 75 h 103"/>
                <a:gd name="T10" fmla="*/ 62 w 100"/>
                <a:gd name="T11" fmla="*/ 39 h 103"/>
                <a:gd name="T12" fmla="*/ 59 w 100"/>
                <a:gd name="T13" fmla="*/ 103 h 103"/>
                <a:gd name="T14" fmla="*/ 47 w 100"/>
                <a:gd name="T15" fmla="*/ 41 h 103"/>
                <a:gd name="T16" fmla="*/ 25 w 100"/>
                <a:gd name="T17" fmla="*/ 75 h 103"/>
                <a:gd name="T18" fmla="*/ 0 w 100"/>
                <a:gd name="T19" fmla="*/ 34 h 103"/>
                <a:gd name="T20" fmla="*/ 11 w 100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103">
                  <a:moveTo>
                    <a:pt x="11" y="0"/>
                  </a:moveTo>
                  <a:lnTo>
                    <a:pt x="59" y="22"/>
                  </a:lnTo>
                  <a:lnTo>
                    <a:pt x="100" y="2"/>
                  </a:lnTo>
                  <a:lnTo>
                    <a:pt x="100" y="45"/>
                  </a:lnTo>
                  <a:lnTo>
                    <a:pt x="77" y="75"/>
                  </a:lnTo>
                  <a:lnTo>
                    <a:pt x="62" y="39"/>
                  </a:lnTo>
                  <a:lnTo>
                    <a:pt x="59" y="103"/>
                  </a:lnTo>
                  <a:lnTo>
                    <a:pt x="47" y="41"/>
                  </a:lnTo>
                  <a:lnTo>
                    <a:pt x="25" y="75"/>
                  </a:lnTo>
                  <a:lnTo>
                    <a:pt x="0" y="34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736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79">
              <a:extLst>
                <a:ext uri="{FF2B5EF4-FFF2-40B4-BE49-F238E27FC236}">
                  <a16:creationId xmlns:a16="http://schemas.microsoft.com/office/drawing/2014/main" id="{D87276F5-C4E3-4BA1-984B-8006AD98A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651" y="3132138"/>
              <a:ext cx="206375" cy="260350"/>
            </a:xfrm>
            <a:custGeom>
              <a:avLst/>
              <a:gdLst>
                <a:gd name="T0" fmla="*/ 0 w 69"/>
                <a:gd name="T1" fmla="*/ 5 h 87"/>
                <a:gd name="T2" fmla="*/ 23 w 69"/>
                <a:gd name="T3" fmla="*/ 0 h 87"/>
                <a:gd name="T4" fmla="*/ 34 w 69"/>
                <a:gd name="T5" fmla="*/ 24 h 87"/>
                <a:gd name="T6" fmla="*/ 63 w 69"/>
                <a:gd name="T7" fmla="*/ 36 h 87"/>
                <a:gd name="T8" fmla="*/ 61 w 69"/>
                <a:gd name="T9" fmla="*/ 42 h 87"/>
                <a:gd name="T10" fmla="*/ 45 w 69"/>
                <a:gd name="T11" fmla="*/ 43 h 87"/>
                <a:gd name="T12" fmla="*/ 58 w 69"/>
                <a:gd name="T13" fmla="*/ 72 h 87"/>
                <a:gd name="T14" fmla="*/ 53 w 69"/>
                <a:gd name="T15" fmla="*/ 72 h 87"/>
                <a:gd name="T16" fmla="*/ 38 w 69"/>
                <a:gd name="T17" fmla="*/ 50 h 87"/>
                <a:gd name="T18" fmla="*/ 53 w 69"/>
                <a:gd name="T19" fmla="*/ 81 h 87"/>
                <a:gd name="T20" fmla="*/ 47 w 69"/>
                <a:gd name="T21" fmla="*/ 81 h 87"/>
                <a:gd name="T22" fmla="*/ 32 w 69"/>
                <a:gd name="T23" fmla="*/ 54 h 87"/>
                <a:gd name="T24" fmla="*/ 40 w 69"/>
                <a:gd name="T25" fmla="*/ 80 h 87"/>
                <a:gd name="T26" fmla="*/ 34 w 69"/>
                <a:gd name="T27" fmla="*/ 78 h 87"/>
                <a:gd name="T28" fmla="*/ 24 w 69"/>
                <a:gd name="T29" fmla="*/ 55 h 87"/>
                <a:gd name="T30" fmla="*/ 26 w 69"/>
                <a:gd name="T31" fmla="*/ 74 h 87"/>
                <a:gd name="T32" fmla="*/ 21 w 69"/>
                <a:gd name="T33" fmla="*/ 72 h 87"/>
                <a:gd name="T34" fmla="*/ 11 w 69"/>
                <a:gd name="T35" fmla="*/ 43 h 87"/>
                <a:gd name="T36" fmla="*/ 11 w 69"/>
                <a:gd name="T37" fmla="*/ 27 h 87"/>
                <a:gd name="T38" fmla="*/ 0 w 69"/>
                <a:gd name="T39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9" h="87">
                  <a:moveTo>
                    <a:pt x="0" y="5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45" y="33"/>
                    <a:pt x="56" y="37"/>
                    <a:pt x="63" y="36"/>
                  </a:cubicBezTo>
                  <a:cubicBezTo>
                    <a:pt x="69" y="35"/>
                    <a:pt x="68" y="41"/>
                    <a:pt x="61" y="42"/>
                  </a:cubicBezTo>
                  <a:cubicBezTo>
                    <a:pt x="55" y="42"/>
                    <a:pt x="45" y="43"/>
                    <a:pt x="45" y="43"/>
                  </a:cubicBezTo>
                  <a:cubicBezTo>
                    <a:pt x="45" y="43"/>
                    <a:pt x="56" y="68"/>
                    <a:pt x="58" y="72"/>
                  </a:cubicBezTo>
                  <a:cubicBezTo>
                    <a:pt x="60" y="76"/>
                    <a:pt x="56" y="77"/>
                    <a:pt x="53" y="72"/>
                  </a:cubicBezTo>
                  <a:cubicBezTo>
                    <a:pt x="49" y="66"/>
                    <a:pt x="38" y="50"/>
                    <a:pt x="38" y="50"/>
                  </a:cubicBezTo>
                  <a:cubicBezTo>
                    <a:pt x="38" y="50"/>
                    <a:pt x="52" y="78"/>
                    <a:pt x="53" y="81"/>
                  </a:cubicBezTo>
                  <a:cubicBezTo>
                    <a:pt x="54" y="83"/>
                    <a:pt x="50" y="87"/>
                    <a:pt x="47" y="81"/>
                  </a:cubicBezTo>
                  <a:cubicBezTo>
                    <a:pt x="43" y="73"/>
                    <a:pt x="32" y="54"/>
                    <a:pt x="32" y="54"/>
                  </a:cubicBezTo>
                  <a:cubicBezTo>
                    <a:pt x="32" y="54"/>
                    <a:pt x="39" y="76"/>
                    <a:pt x="40" y="80"/>
                  </a:cubicBezTo>
                  <a:cubicBezTo>
                    <a:pt x="41" y="84"/>
                    <a:pt x="38" y="86"/>
                    <a:pt x="34" y="78"/>
                  </a:cubicBezTo>
                  <a:cubicBezTo>
                    <a:pt x="30" y="70"/>
                    <a:pt x="24" y="55"/>
                    <a:pt x="24" y="55"/>
                  </a:cubicBezTo>
                  <a:cubicBezTo>
                    <a:pt x="24" y="57"/>
                    <a:pt x="25" y="68"/>
                    <a:pt x="26" y="74"/>
                  </a:cubicBezTo>
                  <a:cubicBezTo>
                    <a:pt x="27" y="79"/>
                    <a:pt x="23" y="81"/>
                    <a:pt x="21" y="72"/>
                  </a:cubicBezTo>
                  <a:cubicBezTo>
                    <a:pt x="18" y="63"/>
                    <a:pt x="13" y="52"/>
                    <a:pt x="11" y="43"/>
                  </a:cubicBezTo>
                  <a:cubicBezTo>
                    <a:pt x="9" y="34"/>
                    <a:pt x="11" y="27"/>
                    <a:pt x="11" y="27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80">
              <a:extLst>
                <a:ext uri="{FF2B5EF4-FFF2-40B4-BE49-F238E27FC236}">
                  <a16:creationId xmlns:a16="http://schemas.microsoft.com/office/drawing/2014/main" id="{0B3CD946-FAE7-4FBB-A64B-CD7E0496E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076" y="2620963"/>
              <a:ext cx="404813" cy="546100"/>
            </a:xfrm>
            <a:custGeom>
              <a:avLst/>
              <a:gdLst>
                <a:gd name="T0" fmla="*/ 122 w 135"/>
                <a:gd name="T1" fmla="*/ 10 h 183"/>
                <a:gd name="T2" fmla="*/ 116 w 135"/>
                <a:gd name="T3" fmla="*/ 41 h 183"/>
                <a:gd name="T4" fmla="*/ 63 w 135"/>
                <a:gd name="T5" fmla="*/ 76 h 183"/>
                <a:gd name="T6" fmla="*/ 75 w 135"/>
                <a:gd name="T7" fmla="*/ 171 h 183"/>
                <a:gd name="T8" fmla="*/ 55 w 135"/>
                <a:gd name="T9" fmla="*/ 183 h 183"/>
                <a:gd name="T10" fmla="*/ 0 w 135"/>
                <a:gd name="T11" fmla="*/ 75 h 183"/>
                <a:gd name="T12" fmla="*/ 73 w 135"/>
                <a:gd name="T13" fmla="*/ 11 h 183"/>
                <a:gd name="T14" fmla="*/ 122 w 135"/>
                <a:gd name="T15" fmla="*/ 1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5" h="183">
                  <a:moveTo>
                    <a:pt x="122" y="10"/>
                  </a:moveTo>
                  <a:cubicBezTo>
                    <a:pt x="131" y="22"/>
                    <a:pt x="135" y="26"/>
                    <a:pt x="116" y="41"/>
                  </a:cubicBezTo>
                  <a:cubicBezTo>
                    <a:pt x="97" y="56"/>
                    <a:pt x="63" y="76"/>
                    <a:pt x="63" y="76"/>
                  </a:cubicBezTo>
                  <a:cubicBezTo>
                    <a:pt x="75" y="171"/>
                    <a:pt x="75" y="171"/>
                    <a:pt x="75" y="171"/>
                  </a:cubicBezTo>
                  <a:cubicBezTo>
                    <a:pt x="55" y="183"/>
                    <a:pt x="55" y="183"/>
                    <a:pt x="55" y="18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58" y="22"/>
                    <a:pt x="73" y="11"/>
                  </a:cubicBezTo>
                  <a:cubicBezTo>
                    <a:pt x="87" y="0"/>
                    <a:pt x="114" y="0"/>
                    <a:pt x="122" y="10"/>
                  </a:cubicBezTo>
                  <a:close/>
                </a:path>
              </a:pathLst>
            </a:custGeom>
            <a:solidFill>
              <a:srgbClr val="D689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81">
              <a:extLst>
                <a:ext uri="{FF2B5EF4-FFF2-40B4-BE49-F238E27FC236}">
                  <a16:creationId xmlns:a16="http://schemas.microsoft.com/office/drawing/2014/main" id="{0FB45EA2-F56B-4B34-B451-EB09DD222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888" y="2620963"/>
              <a:ext cx="381000" cy="203200"/>
            </a:xfrm>
            <a:custGeom>
              <a:avLst/>
              <a:gdLst>
                <a:gd name="T0" fmla="*/ 78 w 127"/>
                <a:gd name="T1" fmla="*/ 62 h 68"/>
                <a:gd name="T2" fmla="*/ 108 w 127"/>
                <a:gd name="T3" fmla="*/ 41 h 68"/>
                <a:gd name="T4" fmla="*/ 114 w 127"/>
                <a:gd name="T5" fmla="*/ 10 h 68"/>
                <a:gd name="T6" fmla="*/ 65 w 127"/>
                <a:gd name="T7" fmla="*/ 11 h 68"/>
                <a:gd name="T8" fmla="*/ 0 w 127"/>
                <a:gd name="T9" fmla="*/ 68 h 68"/>
                <a:gd name="T10" fmla="*/ 78 w 127"/>
                <a:gd name="T11" fmla="*/ 6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7" h="68">
                  <a:moveTo>
                    <a:pt x="78" y="62"/>
                  </a:moveTo>
                  <a:cubicBezTo>
                    <a:pt x="88" y="55"/>
                    <a:pt x="100" y="48"/>
                    <a:pt x="108" y="41"/>
                  </a:cubicBezTo>
                  <a:cubicBezTo>
                    <a:pt x="127" y="26"/>
                    <a:pt x="123" y="22"/>
                    <a:pt x="114" y="10"/>
                  </a:cubicBezTo>
                  <a:cubicBezTo>
                    <a:pt x="106" y="0"/>
                    <a:pt x="79" y="0"/>
                    <a:pt x="65" y="11"/>
                  </a:cubicBezTo>
                  <a:cubicBezTo>
                    <a:pt x="53" y="19"/>
                    <a:pt x="16" y="53"/>
                    <a:pt x="0" y="68"/>
                  </a:cubicBezTo>
                  <a:cubicBezTo>
                    <a:pt x="21" y="66"/>
                    <a:pt x="50" y="64"/>
                    <a:pt x="78" y="62"/>
                  </a:cubicBezTo>
                  <a:close/>
                </a:path>
              </a:pathLst>
            </a:custGeom>
            <a:solidFill>
              <a:srgbClr val="B54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82">
              <a:extLst>
                <a:ext uri="{FF2B5EF4-FFF2-40B4-BE49-F238E27FC236}">
                  <a16:creationId xmlns:a16="http://schemas.microsoft.com/office/drawing/2014/main" id="{03BBDB81-AB66-4D6A-81C7-E0E27E50F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9301" y="2530476"/>
              <a:ext cx="314325" cy="327025"/>
            </a:xfrm>
            <a:custGeom>
              <a:avLst/>
              <a:gdLst>
                <a:gd name="T0" fmla="*/ 99 w 105"/>
                <a:gd name="T1" fmla="*/ 29 h 109"/>
                <a:gd name="T2" fmla="*/ 51 w 105"/>
                <a:gd name="T3" fmla="*/ 18 h 109"/>
                <a:gd name="T4" fmla="*/ 0 w 105"/>
                <a:gd name="T5" fmla="*/ 45 h 109"/>
                <a:gd name="T6" fmla="*/ 24 w 105"/>
                <a:gd name="T7" fmla="*/ 109 h 109"/>
                <a:gd name="T8" fmla="*/ 87 w 105"/>
                <a:gd name="T9" fmla="*/ 75 h 109"/>
                <a:gd name="T10" fmla="*/ 99 w 105"/>
                <a:gd name="T11" fmla="*/ 2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09">
                  <a:moveTo>
                    <a:pt x="99" y="29"/>
                  </a:moveTo>
                  <a:cubicBezTo>
                    <a:pt x="94" y="15"/>
                    <a:pt x="79" y="0"/>
                    <a:pt x="51" y="18"/>
                  </a:cubicBezTo>
                  <a:cubicBezTo>
                    <a:pt x="24" y="35"/>
                    <a:pt x="0" y="45"/>
                    <a:pt x="0" y="45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24" y="109"/>
                    <a:pt x="68" y="86"/>
                    <a:pt x="87" y="75"/>
                  </a:cubicBezTo>
                  <a:cubicBezTo>
                    <a:pt x="105" y="63"/>
                    <a:pt x="103" y="40"/>
                    <a:pt x="99" y="29"/>
                  </a:cubicBezTo>
                  <a:close/>
                </a:path>
              </a:pathLst>
            </a:custGeom>
            <a:solidFill>
              <a:srgbClr val="A19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Oval 70">
            <a:extLst>
              <a:ext uri="{FF2B5EF4-FFF2-40B4-BE49-F238E27FC236}">
                <a16:creationId xmlns:a16="http://schemas.microsoft.com/office/drawing/2014/main" id="{E259678A-A62D-414C-8FB7-676A8A3FA596}"/>
              </a:ext>
            </a:extLst>
          </p:cNvPr>
          <p:cNvSpPr/>
          <p:nvPr/>
        </p:nvSpPr>
        <p:spPr>
          <a:xfrm>
            <a:off x="5402644" y="3047176"/>
            <a:ext cx="1383030" cy="1441696"/>
          </a:xfrm>
          <a:prstGeom prst="ellipse">
            <a:avLst/>
          </a:prstGeom>
          <a:solidFill>
            <a:srgbClr val="FFA6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2E2F175-B6D2-4827-814B-59F3B2813882}"/>
              </a:ext>
            </a:extLst>
          </p:cNvPr>
          <p:cNvSpPr txBox="1"/>
          <p:nvPr/>
        </p:nvSpPr>
        <p:spPr>
          <a:xfrm>
            <a:off x="5552185" y="3480253"/>
            <a:ext cx="10839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UMUS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2961E9FA-A482-4F57-981A-86CE780C3D50}"/>
              </a:ext>
            </a:extLst>
          </p:cNvPr>
          <p:cNvGrpSpPr/>
          <p:nvPr/>
        </p:nvGrpSpPr>
        <p:grpSpPr>
          <a:xfrm>
            <a:off x="265471" y="1754248"/>
            <a:ext cx="11739716" cy="4563747"/>
            <a:chOff x="277810" y="1540636"/>
            <a:chExt cx="11612587" cy="4563747"/>
          </a:xfrm>
        </p:grpSpPr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902D1EF-FE8F-4A72-A868-DAFAB4C6C7A1}"/>
                </a:ext>
              </a:extLst>
            </p:cNvPr>
            <p:cNvGrpSpPr/>
            <p:nvPr/>
          </p:nvGrpSpPr>
          <p:grpSpPr>
            <a:xfrm>
              <a:off x="7522955" y="1540636"/>
              <a:ext cx="4367442" cy="4563747"/>
              <a:chOff x="7522955" y="1540636"/>
              <a:chExt cx="4367442" cy="4563747"/>
            </a:xfrm>
          </p:grpSpPr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BEC09620-3C21-4525-9B76-7E68D1F066D8}"/>
                  </a:ext>
                </a:extLst>
              </p:cNvPr>
              <p:cNvGrpSpPr/>
              <p:nvPr/>
            </p:nvGrpSpPr>
            <p:grpSpPr>
              <a:xfrm>
                <a:off x="7522955" y="1540636"/>
                <a:ext cx="3681774" cy="942095"/>
                <a:chOff x="7467536" y="1512927"/>
                <a:chExt cx="3681774" cy="942095"/>
              </a:xfrm>
            </p:grpSpPr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CD6DF97B-91BF-45C3-A8B7-D5BE13817CAE}"/>
                    </a:ext>
                  </a:extLst>
                </p:cNvPr>
                <p:cNvSpPr txBox="1"/>
                <p:nvPr/>
              </p:nvSpPr>
              <p:spPr>
                <a:xfrm>
                  <a:off x="7467536" y="1808691"/>
                  <a:ext cx="3681774" cy="64633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eta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akuk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oleh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Bupati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/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Wali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Kota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esuai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eng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ewenangannya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  <a:sym typeface="Wingdings" panose="05000000000000000000" pitchFamily="2" charset="2"/>
                    </a:rPr>
                    <a:t>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aksanak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oleh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ekda</a:t>
                  </a:r>
                  <a:endParaRPr kumimoji="0" lang="en-ID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TextBox 146">
                  <a:extLst>
                    <a:ext uri="{FF2B5EF4-FFF2-40B4-BE49-F238E27FC236}">
                      <a16:creationId xmlns:a16="http://schemas.microsoft.com/office/drawing/2014/main" id="{AC80D6CE-28E4-4806-BD39-1D103A4F4229}"/>
                    </a:ext>
                  </a:extLst>
                </p:cNvPr>
                <p:cNvSpPr txBox="1"/>
                <p:nvPr/>
              </p:nvSpPr>
              <p:spPr>
                <a:xfrm>
                  <a:off x="7832253" y="1512927"/>
                  <a:ext cx="2641783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laksana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72D78C2E-4DA2-498E-B7AB-7B03A0B56AD8}"/>
                  </a:ext>
                </a:extLst>
              </p:cNvPr>
              <p:cNvGrpSpPr/>
              <p:nvPr/>
            </p:nvGrpSpPr>
            <p:grpSpPr>
              <a:xfrm>
                <a:off x="8749684" y="2904616"/>
                <a:ext cx="3140713" cy="3199767"/>
                <a:chOff x="7832253" y="1512927"/>
                <a:chExt cx="3140713" cy="3199767"/>
              </a:xfrm>
            </p:grpSpPr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9AB4003B-1663-40FF-BCA1-3E33E8DDB784}"/>
                    </a:ext>
                  </a:extLst>
                </p:cNvPr>
                <p:cNvSpPr txBox="1"/>
                <p:nvPr/>
              </p:nvSpPr>
              <p:spPr>
                <a:xfrm>
                  <a:off x="7832254" y="1911927"/>
                  <a:ext cx="2932728" cy="280076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ventarisasi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ewenang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yg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WAJIB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impahk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</a:t>
                  </a:r>
                </a:p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ventarisasi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rus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. yang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tdk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fektif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&amp;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fisie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di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etda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,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nas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dan/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tau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badan;</a:t>
                  </a:r>
                </a:p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nalisa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hasil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ventarisasi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</a:t>
                  </a:r>
                </a:p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mastik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esiap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SDM &amp;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arpras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</a:t>
                  </a:r>
                </a:p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rencanak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lokasi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nggar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ntuk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rus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yg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impahk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</a:t>
                  </a:r>
                </a:p>
                <a:p>
                  <a:pPr marL="176213" marR="0" lvl="0" indent="-176213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lphaLcPeriod"/>
                    <a:tabLst/>
                    <a:defRPr/>
                  </a:pP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nghimpu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dom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r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OPD lain yang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rusannya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impahkan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e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ID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amat</a:t>
                  </a:r>
                  <a:r>
                    <a:rPr lang="en-ID" sz="1400" dirty="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.</a:t>
                  </a:r>
                  <a:r>
                    <a:rPr kumimoji="0" lang="en-ID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</a:p>
              </p:txBody>
            </p: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775A5CD5-703E-457E-BB23-6431F0C1EBC4}"/>
                    </a:ext>
                  </a:extLst>
                </p:cNvPr>
                <p:cNvSpPr txBox="1"/>
                <p:nvPr/>
              </p:nvSpPr>
              <p:spPr>
                <a:xfrm>
                  <a:off x="7832253" y="1512927"/>
                  <a:ext cx="3140713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etaan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rusan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erintahan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6E651783-5984-4445-A670-9879DAFD90F8}"/>
                </a:ext>
              </a:extLst>
            </p:cNvPr>
            <p:cNvGrpSpPr/>
            <p:nvPr/>
          </p:nvGrpSpPr>
          <p:grpSpPr>
            <a:xfrm>
              <a:off x="277810" y="1540636"/>
              <a:ext cx="3924918" cy="2062895"/>
              <a:chOff x="61295" y="1540636"/>
              <a:chExt cx="3924918" cy="2062895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B1F9D852-FBA6-445A-91A5-ABEAD3F93521}"/>
                  </a:ext>
                </a:extLst>
              </p:cNvPr>
              <p:cNvGrpSpPr/>
              <p:nvPr/>
            </p:nvGrpSpPr>
            <p:grpSpPr>
              <a:xfrm flipH="1">
                <a:off x="61295" y="1540636"/>
                <a:ext cx="3924918" cy="971591"/>
                <a:chOff x="7832253" y="1512927"/>
                <a:chExt cx="3924918" cy="971591"/>
              </a:xfrm>
            </p:grpSpPr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AA5CA387-423F-481F-B21E-10AE259C85A9}"/>
                    </a:ext>
                  </a:extLst>
                </p:cNvPr>
                <p:cNvSpPr txBox="1"/>
                <p:nvPr/>
              </p:nvSpPr>
              <p:spPr>
                <a:xfrm>
                  <a:off x="7832253" y="1838187"/>
                  <a:ext cx="3924918" cy="64633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eta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mperhatik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: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arakteristik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ografis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, wilayah;,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ntang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endali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ampak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laksanaan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; dan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tensitas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layanan</a:t>
                  </a:r>
                  <a:endParaRPr kumimoji="0" lang="en-ID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" name="TextBox 158">
                  <a:extLst>
                    <a:ext uri="{FF2B5EF4-FFF2-40B4-BE49-F238E27FC236}">
                      <a16:creationId xmlns:a16="http://schemas.microsoft.com/office/drawing/2014/main" id="{02B829AE-7440-4023-8331-A2E60C2FA6EB}"/>
                    </a:ext>
                  </a:extLst>
                </p:cNvPr>
                <p:cNvSpPr txBox="1"/>
                <p:nvPr/>
              </p:nvSpPr>
              <p:spPr>
                <a:xfrm>
                  <a:off x="7832253" y="1512927"/>
                  <a:ext cx="2641783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600" b="1" dirty="0" err="1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atatan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4C1B8D7A-6161-46AA-B75D-24B19C954EA6}"/>
                  </a:ext>
                </a:extLst>
              </p:cNvPr>
              <p:cNvGrpSpPr/>
              <p:nvPr/>
            </p:nvGrpSpPr>
            <p:grpSpPr>
              <a:xfrm flipH="1">
                <a:off x="191473" y="3111088"/>
                <a:ext cx="2932728" cy="492443"/>
                <a:chOff x="7832253" y="1719399"/>
                <a:chExt cx="2932728" cy="492443"/>
              </a:xfrm>
            </p:grpSpPr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75B05545-E30D-4657-831E-E77A8531C6C2}"/>
                    </a:ext>
                  </a:extLst>
                </p:cNvPr>
                <p:cNvSpPr txBox="1"/>
                <p:nvPr/>
              </p:nvSpPr>
              <p:spPr>
                <a:xfrm>
                  <a:off x="7832253" y="1911927"/>
                  <a:ext cx="2932728" cy="21544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D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E528F28F-394C-4353-A8E0-299CED4661CD}"/>
                    </a:ext>
                  </a:extLst>
                </p:cNvPr>
                <p:cNvSpPr txBox="1"/>
                <p:nvPr/>
              </p:nvSpPr>
              <p:spPr>
                <a:xfrm>
                  <a:off x="7832253" y="1719399"/>
                  <a:ext cx="2641783" cy="49244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rusan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merintahan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yg</a:t>
                  </a: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6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limpahkan</a:t>
                  </a:r>
                  <a:endPara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936BBB85-74E1-45EA-BF8B-F9C113AAABAF}"/>
              </a:ext>
            </a:extLst>
          </p:cNvPr>
          <p:cNvGrpSpPr/>
          <p:nvPr/>
        </p:nvGrpSpPr>
        <p:grpSpPr>
          <a:xfrm>
            <a:off x="4680217" y="1666087"/>
            <a:ext cx="996417" cy="1006211"/>
            <a:chOff x="773113" y="5006975"/>
            <a:chExt cx="2584450" cy="2609850"/>
          </a:xfrm>
        </p:grpSpPr>
        <p:sp>
          <p:nvSpPr>
            <p:cNvPr id="173" name="Oval 86">
              <a:extLst>
                <a:ext uri="{FF2B5EF4-FFF2-40B4-BE49-F238E27FC236}">
                  <a16:creationId xmlns:a16="http://schemas.microsoft.com/office/drawing/2014/main" id="{66254E45-DD22-4FE8-80F3-F8D723893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3113" y="5006975"/>
              <a:ext cx="2584450" cy="2586038"/>
            </a:xfrm>
            <a:prstGeom prst="ellipse">
              <a:avLst/>
            </a:prstGeom>
            <a:solidFill>
              <a:srgbClr val="2B4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Oval 87">
              <a:extLst>
                <a:ext uri="{FF2B5EF4-FFF2-40B4-BE49-F238E27FC236}">
                  <a16:creationId xmlns:a16="http://schemas.microsoft.com/office/drawing/2014/main" id="{3E9F0014-1BF3-47AB-A55C-D04F17B155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7363" y="5434013"/>
              <a:ext cx="615950" cy="615950"/>
            </a:xfrm>
            <a:prstGeom prst="ellipse">
              <a:avLst/>
            </a:prstGeom>
            <a:solidFill>
              <a:srgbClr val="B65B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Oval 88">
              <a:extLst>
                <a:ext uri="{FF2B5EF4-FFF2-40B4-BE49-F238E27FC236}">
                  <a16:creationId xmlns:a16="http://schemas.microsoft.com/office/drawing/2014/main" id="{E7427003-E120-4017-87FE-E92EDA89B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7676" y="5434013"/>
              <a:ext cx="615950" cy="615950"/>
            </a:xfrm>
            <a:prstGeom prst="ellipse">
              <a:avLst/>
            </a:pr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90">
              <a:extLst>
                <a:ext uri="{FF2B5EF4-FFF2-40B4-BE49-F238E27FC236}">
                  <a16:creationId xmlns:a16="http://schemas.microsoft.com/office/drawing/2014/main" id="{9ECCB911-87EE-4180-9092-04DE5BB05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63" y="5308600"/>
              <a:ext cx="101600" cy="131763"/>
            </a:xfrm>
            <a:custGeom>
              <a:avLst/>
              <a:gdLst>
                <a:gd name="T0" fmla="*/ 31 w 34"/>
                <a:gd name="T1" fmla="*/ 34 h 44"/>
                <a:gd name="T2" fmla="*/ 11 w 34"/>
                <a:gd name="T3" fmla="*/ 5 h 44"/>
                <a:gd name="T4" fmla="*/ 4 w 34"/>
                <a:gd name="T5" fmla="*/ 10 h 44"/>
                <a:gd name="T6" fmla="*/ 24 w 34"/>
                <a:gd name="T7" fmla="*/ 39 h 44"/>
                <a:gd name="T8" fmla="*/ 31 w 34"/>
                <a:gd name="T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4">
                  <a:moveTo>
                    <a:pt x="31" y="34"/>
                  </a:moveTo>
                  <a:cubicBezTo>
                    <a:pt x="25" y="24"/>
                    <a:pt x="18" y="14"/>
                    <a:pt x="11" y="5"/>
                  </a:cubicBezTo>
                  <a:cubicBezTo>
                    <a:pt x="8" y="0"/>
                    <a:pt x="0" y="5"/>
                    <a:pt x="4" y="10"/>
                  </a:cubicBezTo>
                  <a:cubicBezTo>
                    <a:pt x="11" y="19"/>
                    <a:pt x="17" y="29"/>
                    <a:pt x="24" y="39"/>
                  </a:cubicBezTo>
                  <a:cubicBezTo>
                    <a:pt x="27" y="44"/>
                    <a:pt x="34" y="39"/>
                    <a:pt x="31" y="34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91">
              <a:extLst>
                <a:ext uri="{FF2B5EF4-FFF2-40B4-BE49-F238E27FC236}">
                  <a16:creationId xmlns:a16="http://schemas.microsoft.com/office/drawing/2014/main" id="{5AF11D19-0331-4EEA-A373-B501C30BA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7388" y="5254625"/>
              <a:ext cx="41275" cy="152400"/>
            </a:xfrm>
            <a:custGeom>
              <a:avLst/>
              <a:gdLst>
                <a:gd name="T0" fmla="*/ 13 w 14"/>
                <a:gd name="T1" fmla="*/ 43 h 51"/>
                <a:gd name="T2" fmla="*/ 9 w 14"/>
                <a:gd name="T3" fmla="*/ 6 h 51"/>
                <a:gd name="T4" fmla="*/ 0 w 14"/>
                <a:gd name="T5" fmla="*/ 6 h 51"/>
                <a:gd name="T6" fmla="*/ 4 w 14"/>
                <a:gd name="T7" fmla="*/ 46 h 51"/>
                <a:gd name="T8" fmla="*/ 13 w 14"/>
                <a:gd name="T9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1">
                  <a:moveTo>
                    <a:pt x="13" y="43"/>
                  </a:moveTo>
                  <a:cubicBezTo>
                    <a:pt x="10" y="31"/>
                    <a:pt x="9" y="18"/>
                    <a:pt x="9" y="6"/>
                  </a:cubicBezTo>
                  <a:cubicBezTo>
                    <a:pt x="9" y="0"/>
                    <a:pt x="0" y="1"/>
                    <a:pt x="0" y="6"/>
                  </a:cubicBezTo>
                  <a:cubicBezTo>
                    <a:pt x="0" y="20"/>
                    <a:pt x="2" y="33"/>
                    <a:pt x="4" y="46"/>
                  </a:cubicBezTo>
                  <a:cubicBezTo>
                    <a:pt x="5" y="51"/>
                    <a:pt x="14" y="49"/>
                    <a:pt x="13" y="43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92">
              <a:extLst>
                <a:ext uri="{FF2B5EF4-FFF2-40B4-BE49-F238E27FC236}">
                  <a16:creationId xmlns:a16="http://schemas.microsoft.com/office/drawing/2014/main" id="{B352F68F-172B-4FAF-9CA1-D55F862B2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6" y="5267325"/>
              <a:ext cx="74613" cy="133350"/>
            </a:xfrm>
            <a:custGeom>
              <a:avLst/>
              <a:gdLst>
                <a:gd name="T0" fmla="*/ 14 w 25"/>
                <a:gd name="T1" fmla="*/ 5 h 45"/>
                <a:gd name="T2" fmla="*/ 1 w 25"/>
                <a:gd name="T3" fmla="*/ 37 h 45"/>
                <a:gd name="T4" fmla="*/ 10 w 25"/>
                <a:gd name="T5" fmla="*/ 39 h 45"/>
                <a:gd name="T6" fmla="*/ 22 w 25"/>
                <a:gd name="T7" fmla="*/ 9 h 45"/>
                <a:gd name="T8" fmla="*/ 14 w 25"/>
                <a:gd name="T9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5">
                  <a:moveTo>
                    <a:pt x="14" y="5"/>
                  </a:moveTo>
                  <a:cubicBezTo>
                    <a:pt x="8" y="15"/>
                    <a:pt x="4" y="26"/>
                    <a:pt x="1" y="37"/>
                  </a:cubicBezTo>
                  <a:cubicBezTo>
                    <a:pt x="0" y="43"/>
                    <a:pt x="9" y="45"/>
                    <a:pt x="10" y="39"/>
                  </a:cubicBezTo>
                  <a:cubicBezTo>
                    <a:pt x="12" y="28"/>
                    <a:pt x="16" y="18"/>
                    <a:pt x="22" y="9"/>
                  </a:cubicBezTo>
                  <a:cubicBezTo>
                    <a:pt x="25" y="4"/>
                    <a:pt x="17" y="0"/>
                    <a:pt x="14" y="5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93">
              <a:extLst>
                <a:ext uri="{FF2B5EF4-FFF2-40B4-BE49-F238E27FC236}">
                  <a16:creationId xmlns:a16="http://schemas.microsoft.com/office/drawing/2014/main" id="{35997E68-8D69-4F8E-A440-2FFF3554D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026" y="5305425"/>
              <a:ext cx="114300" cy="134938"/>
            </a:xfrm>
            <a:custGeom>
              <a:avLst/>
              <a:gdLst>
                <a:gd name="T0" fmla="*/ 27 w 38"/>
                <a:gd name="T1" fmla="*/ 4 h 45"/>
                <a:gd name="T2" fmla="*/ 3 w 38"/>
                <a:gd name="T3" fmla="*/ 36 h 45"/>
                <a:gd name="T4" fmla="*/ 11 w 38"/>
                <a:gd name="T5" fmla="*/ 40 h 45"/>
                <a:gd name="T6" fmla="*/ 34 w 38"/>
                <a:gd name="T7" fmla="*/ 10 h 45"/>
                <a:gd name="T8" fmla="*/ 27 w 38"/>
                <a:gd name="T9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5">
                  <a:moveTo>
                    <a:pt x="27" y="4"/>
                  </a:moveTo>
                  <a:cubicBezTo>
                    <a:pt x="18" y="14"/>
                    <a:pt x="10" y="24"/>
                    <a:pt x="3" y="36"/>
                  </a:cubicBezTo>
                  <a:cubicBezTo>
                    <a:pt x="0" y="41"/>
                    <a:pt x="8" y="45"/>
                    <a:pt x="11" y="40"/>
                  </a:cubicBezTo>
                  <a:cubicBezTo>
                    <a:pt x="17" y="29"/>
                    <a:pt x="25" y="19"/>
                    <a:pt x="34" y="10"/>
                  </a:cubicBezTo>
                  <a:cubicBezTo>
                    <a:pt x="38" y="6"/>
                    <a:pt x="31" y="0"/>
                    <a:pt x="27" y="4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94">
              <a:extLst>
                <a:ext uri="{FF2B5EF4-FFF2-40B4-BE49-F238E27FC236}">
                  <a16:creationId xmlns:a16="http://schemas.microsoft.com/office/drawing/2014/main" id="{4561FC8D-2749-439B-BF77-38C424801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488" y="5605463"/>
              <a:ext cx="1633538" cy="1233488"/>
            </a:xfrm>
            <a:custGeom>
              <a:avLst/>
              <a:gdLst>
                <a:gd name="T0" fmla="*/ 1029 w 1029"/>
                <a:gd name="T1" fmla="*/ 0 h 777"/>
                <a:gd name="T2" fmla="*/ 884 w 1029"/>
                <a:gd name="T3" fmla="*/ 47 h 777"/>
                <a:gd name="T4" fmla="*/ 925 w 1029"/>
                <a:gd name="T5" fmla="*/ 88 h 777"/>
                <a:gd name="T6" fmla="*/ 622 w 1029"/>
                <a:gd name="T7" fmla="*/ 384 h 777"/>
                <a:gd name="T8" fmla="*/ 364 w 1029"/>
                <a:gd name="T9" fmla="*/ 323 h 777"/>
                <a:gd name="T10" fmla="*/ 0 w 1029"/>
                <a:gd name="T11" fmla="*/ 747 h 777"/>
                <a:gd name="T12" fmla="*/ 36 w 1029"/>
                <a:gd name="T13" fmla="*/ 777 h 777"/>
                <a:gd name="T14" fmla="*/ 379 w 1029"/>
                <a:gd name="T15" fmla="*/ 369 h 777"/>
                <a:gd name="T16" fmla="*/ 635 w 1029"/>
                <a:gd name="T17" fmla="*/ 435 h 777"/>
                <a:gd name="T18" fmla="*/ 948 w 1029"/>
                <a:gd name="T19" fmla="*/ 111 h 777"/>
                <a:gd name="T20" fmla="*/ 986 w 1029"/>
                <a:gd name="T21" fmla="*/ 148 h 777"/>
                <a:gd name="T22" fmla="*/ 1029 w 1029"/>
                <a:gd name="T23" fmla="*/ 0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9" h="777">
                  <a:moveTo>
                    <a:pt x="1029" y="0"/>
                  </a:moveTo>
                  <a:lnTo>
                    <a:pt x="884" y="47"/>
                  </a:lnTo>
                  <a:lnTo>
                    <a:pt x="925" y="88"/>
                  </a:lnTo>
                  <a:lnTo>
                    <a:pt x="622" y="384"/>
                  </a:lnTo>
                  <a:lnTo>
                    <a:pt x="364" y="323"/>
                  </a:lnTo>
                  <a:lnTo>
                    <a:pt x="0" y="747"/>
                  </a:lnTo>
                  <a:lnTo>
                    <a:pt x="36" y="777"/>
                  </a:lnTo>
                  <a:lnTo>
                    <a:pt x="379" y="369"/>
                  </a:lnTo>
                  <a:lnTo>
                    <a:pt x="635" y="435"/>
                  </a:lnTo>
                  <a:lnTo>
                    <a:pt x="948" y="111"/>
                  </a:lnTo>
                  <a:lnTo>
                    <a:pt x="986" y="148"/>
                  </a:lnTo>
                  <a:lnTo>
                    <a:pt x="1029" y="0"/>
                  </a:lnTo>
                  <a:close/>
                </a:path>
              </a:pathLst>
            </a:custGeom>
            <a:solidFill>
              <a:srgbClr val="A4A1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95">
              <a:extLst>
                <a:ext uri="{FF2B5EF4-FFF2-40B4-BE49-F238E27FC236}">
                  <a16:creationId xmlns:a16="http://schemas.microsoft.com/office/drawing/2014/main" id="{CF069912-28CA-40E0-99CE-8ACF93EEC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4738" y="6019800"/>
              <a:ext cx="2082800" cy="1597025"/>
            </a:xfrm>
            <a:custGeom>
              <a:avLst/>
              <a:gdLst>
                <a:gd name="T0" fmla="*/ 649 w 696"/>
                <a:gd name="T1" fmla="*/ 488 h 534"/>
                <a:gd name="T2" fmla="*/ 649 w 696"/>
                <a:gd name="T3" fmla="*/ 12 h 534"/>
                <a:gd name="T4" fmla="*/ 637 w 696"/>
                <a:gd name="T5" fmla="*/ 0 h 534"/>
                <a:gd name="T6" fmla="*/ 521 w 696"/>
                <a:gd name="T7" fmla="*/ 0 h 534"/>
                <a:gd name="T8" fmla="*/ 509 w 696"/>
                <a:gd name="T9" fmla="*/ 12 h 534"/>
                <a:gd name="T10" fmla="*/ 509 w 696"/>
                <a:gd name="T11" fmla="*/ 488 h 534"/>
                <a:gd name="T12" fmla="*/ 494 w 696"/>
                <a:gd name="T13" fmla="*/ 488 h 534"/>
                <a:gd name="T14" fmla="*/ 494 w 696"/>
                <a:gd name="T15" fmla="*/ 146 h 534"/>
                <a:gd name="T16" fmla="*/ 482 w 696"/>
                <a:gd name="T17" fmla="*/ 134 h 534"/>
                <a:gd name="T18" fmla="*/ 366 w 696"/>
                <a:gd name="T19" fmla="*/ 134 h 534"/>
                <a:gd name="T20" fmla="*/ 355 w 696"/>
                <a:gd name="T21" fmla="*/ 146 h 534"/>
                <a:gd name="T22" fmla="*/ 355 w 696"/>
                <a:gd name="T23" fmla="*/ 488 h 534"/>
                <a:gd name="T24" fmla="*/ 340 w 696"/>
                <a:gd name="T25" fmla="*/ 488 h 534"/>
                <a:gd name="T26" fmla="*/ 340 w 696"/>
                <a:gd name="T27" fmla="*/ 240 h 534"/>
                <a:gd name="T28" fmla="*/ 328 w 696"/>
                <a:gd name="T29" fmla="*/ 228 h 534"/>
                <a:gd name="T30" fmla="*/ 212 w 696"/>
                <a:gd name="T31" fmla="*/ 228 h 534"/>
                <a:gd name="T32" fmla="*/ 200 w 696"/>
                <a:gd name="T33" fmla="*/ 240 h 534"/>
                <a:gd name="T34" fmla="*/ 200 w 696"/>
                <a:gd name="T35" fmla="*/ 488 h 534"/>
                <a:gd name="T36" fmla="*/ 185 w 696"/>
                <a:gd name="T37" fmla="*/ 488 h 534"/>
                <a:gd name="T38" fmla="*/ 185 w 696"/>
                <a:gd name="T39" fmla="*/ 353 h 534"/>
                <a:gd name="T40" fmla="*/ 173 w 696"/>
                <a:gd name="T41" fmla="*/ 341 h 534"/>
                <a:gd name="T42" fmla="*/ 57 w 696"/>
                <a:gd name="T43" fmla="*/ 341 h 534"/>
                <a:gd name="T44" fmla="*/ 46 w 696"/>
                <a:gd name="T45" fmla="*/ 353 h 534"/>
                <a:gd name="T46" fmla="*/ 46 w 696"/>
                <a:gd name="T47" fmla="*/ 488 h 534"/>
                <a:gd name="T48" fmla="*/ 0 w 696"/>
                <a:gd name="T49" fmla="*/ 488 h 534"/>
                <a:gd name="T50" fmla="*/ 0 w 696"/>
                <a:gd name="T51" fmla="*/ 534 h 534"/>
                <a:gd name="T52" fmla="*/ 696 w 696"/>
                <a:gd name="T53" fmla="*/ 534 h 534"/>
                <a:gd name="T54" fmla="*/ 696 w 696"/>
                <a:gd name="T55" fmla="*/ 488 h 534"/>
                <a:gd name="T56" fmla="*/ 649 w 696"/>
                <a:gd name="T57" fmla="*/ 488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6" h="534">
                  <a:moveTo>
                    <a:pt x="649" y="488"/>
                  </a:moveTo>
                  <a:cubicBezTo>
                    <a:pt x="649" y="12"/>
                    <a:pt x="649" y="12"/>
                    <a:pt x="649" y="12"/>
                  </a:cubicBezTo>
                  <a:cubicBezTo>
                    <a:pt x="649" y="6"/>
                    <a:pt x="643" y="0"/>
                    <a:pt x="637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15" y="0"/>
                    <a:pt x="509" y="6"/>
                    <a:pt x="509" y="12"/>
                  </a:cubicBezTo>
                  <a:cubicBezTo>
                    <a:pt x="509" y="488"/>
                    <a:pt x="509" y="488"/>
                    <a:pt x="509" y="488"/>
                  </a:cubicBezTo>
                  <a:cubicBezTo>
                    <a:pt x="494" y="488"/>
                    <a:pt x="494" y="488"/>
                    <a:pt x="494" y="488"/>
                  </a:cubicBezTo>
                  <a:cubicBezTo>
                    <a:pt x="494" y="146"/>
                    <a:pt x="494" y="146"/>
                    <a:pt x="494" y="146"/>
                  </a:cubicBezTo>
                  <a:cubicBezTo>
                    <a:pt x="494" y="139"/>
                    <a:pt x="489" y="134"/>
                    <a:pt x="482" y="134"/>
                  </a:cubicBezTo>
                  <a:cubicBezTo>
                    <a:pt x="366" y="134"/>
                    <a:pt x="366" y="134"/>
                    <a:pt x="366" y="134"/>
                  </a:cubicBezTo>
                  <a:cubicBezTo>
                    <a:pt x="360" y="134"/>
                    <a:pt x="355" y="139"/>
                    <a:pt x="355" y="146"/>
                  </a:cubicBezTo>
                  <a:cubicBezTo>
                    <a:pt x="355" y="488"/>
                    <a:pt x="355" y="488"/>
                    <a:pt x="355" y="488"/>
                  </a:cubicBezTo>
                  <a:cubicBezTo>
                    <a:pt x="340" y="488"/>
                    <a:pt x="340" y="488"/>
                    <a:pt x="340" y="488"/>
                  </a:cubicBezTo>
                  <a:cubicBezTo>
                    <a:pt x="340" y="240"/>
                    <a:pt x="340" y="240"/>
                    <a:pt x="340" y="240"/>
                  </a:cubicBezTo>
                  <a:cubicBezTo>
                    <a:pt x="340" y="234"/>
                    <a:pt x="334" y="228"/>
                    <a:pt x="328" y="228"/>
                  </a:cubicBezTo>
                  <a:cubicBezTo>
                    <a:pt x="212" y="228"/>
                    <a:pt x="212" y="228"/>
                    <a:pt x="212" y="228"/>
                  </a:cubicBezTo>
                  <a:cubicBezTo>
                    <a:pt x="205" y="228"/>
                    <a:pt x="200" y="234"/>
                    <a:pt x="200" y="240"/>
                  </a:cubicBezTo>
                  <a:cubicBezTo>
                    <a:pt x="200" y="488"/>
                    <a:pt x="200" y="488"/>
                    <a:pt x="200" y="488"/>
                  </a:cubicBezTo>
                  <a:cubicBezTo>
                    <a:pt x="185" y="488"/>
                    <a:pt x="185" y="488"/>
                    <a:pt x="185" y="488"/>
                  </a:cubicBezTo>
                  <a:cubicBezTo>
                    <a:pt x="185" y="353"/>
                    <a:pt x="185" y="353"/>
                    <a:pt x="185" y="353"/>
                  </a:cubicBezTo>
                  <a:cubicBezTo>
                    <a:pt x="185" y="346"/>
                    <a:pt x="180" y="341"/>
                    <a:pt x="173" y="341"/>
                  </a:cubicBezTo>
                  <a:cubicBezTo>
                    <a:pt x="57" y="341"/>
                    <a:pt x="57" y="341"/>
                    <a:pt x="57" y="341"/>
                  </a:cubicBezTo>
                  <a:cubicBezTo>
                    <a:pt x="51" y="341"/>
                    <a:pt x="46" y="346"/>
                    <a:pt x="46" y="353"/>
                  </a:cubicBezTo>
                  <a:cubicBezTo>
                    <a:pt x="46" y="488"/>
                    <a:pt x="46" y="488"/>
                    <a:pt x="46" y="488"/>
                  </a:cubicBezTo>
                  <a:cubicBezTo>
                    <a:pt x="0" y="488"/>
                    <a:pt x="0" y="488"/>
                    <a:pt x="0" y="488"/>
                  </a:cubicBezTo>
                  <a:cubicBezTo>
                    <a:pt x="0" y="534"/>
                    <a:pt x="0" y="534"/>
                    <a:pt x="0" y="534"/>
                  </a:cubicBezTo>
                  <a:cubicBezTo>
                    <a:pt x="696" y="534"/>
                    <a:pt x="696" y="534"/>
                    <a:pt x="696" y="534"/>
                  </a:cubicBezTo>
                  <a:cubicBezTo>
                    <a:pt x="696" y="488"/>
                    <a:pt x="696" y="488"/>
                    <a:pt x="696" y="488"/>
                  </a:cubicBezTo>
                  <a:lnTo>
                    <a:pt x="649" y="488"/>
                  </a:lnTo>
                  <a:close/>
                </a:path>
              </a:pathLst>
            </a:custGeom>
            <a:solidFill>
              <a:srgbClr val="037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192F9E2C-8A1A-4499-B89B-9E557EF76599}"/>
              </a:ext>
            </a:extLst>
          </p:cNvPr>
          <p:cNvGrpSpPr/>
          <p:nvPr/>
        </p:nvGrpSpPr>
        <p:grpSpPr>
          <a:xfrm>
            <a:off x="6491048" y="1584522"/>
            <a:ext cx="1124336" cy="1123112"/>
            <a:chOff x="8108951" y="4202112"/>
            <a:chExt cx="2916237" cy="2913063"/>
          </a:xfrm>
        </p:grpSpPr>
        <p:sp>
          <p:nvSpPr>
            <p:cNvPr id="187" name="Freeform 99">
              <a:extLst>
                <a:ext uri="{FF2B5EF4-FFF2-40B4-BE49-F238E27FC236}">
                  <a16:creationId xmlns:a16="http://schemas.microsoft.com/office/drawing/2014/main" id="{95E885D0-4D6F-4EB0-8E26-E8931B9DC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8951" y="4202112"/>
              <a:ext cx="2916237" cy="2913063"/>
            </a:xfrm>
            <a:custGeom>
              <a:avLst/>
              <a:gdLst>
                <a:gd name="T0" fmla="*/ 923 w 975"/>
                <a:gd name="T1" fmla="*/ 395 h 975"/>
                <a:gd name="T2" fmla="*/ 581 w 975"/>
                <a:gd name="T3" fmla="*/ 923 h 975"/>
                <a:gd name="T4" fmla="*/ 52 w 975"/>
                <a:gd name="T5" fmla="*/ 581 h 975"/>
                <a:gd name="T6" fmla="*/ 394 w 975"/>
                <a:gd name="T7" fmla="*/ 52 h 975"/>
                <a:gd name="T8" fmla="*/ 923 w 975"/>
                <a:gd name="T9" fmla="*/ 395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5" h="975">
                  <a:moveTo>
                    <a:pt x="923" y="395"/>
                  </a:moveTo>
                  <a:cubicBezTo>
                    <a:pt x="975" y="635"/>
                    <a:pt x="821" y="872"/>
                    <a:pt x="581" y="923"/>
                  </a:cubicBezTo>
                  <a:cubicBezTo>
                    <a:pt x="340" y="975"/>
                    <a:pt x="103" y="821"/>
                    <a:pt x="52" y="581"/>
                  </a:cubicBezTo>
                  <a:cubicBezTo>
                    <a:pt x="0" y="340"/>
                    <a:pt x="154" y="103"/>
                    <a:pt x="394" y="52"/>
                  </a:cubicBezTo>
                  <a:cubicBezTo>
                    <a:pt x="635" y="0"/>
                    <a:pt x="872" y="154"/>
                    <a:pt x="923" y="395"/>
                  </a:cubicBezTo>
                  <a:close/>
                </a:path>
              </a:pathLst>
            </a:custGeom>
            <a:solidFill>
              <a:srgbClr val="C45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100">
              <a:extLst>
                <a:ext uri="{FF2B5EF4-FFF2-40B4-BE49-F238E27FC236}">
                  <a16:creationId xmlns:a16="http://schemas.microsoft.com/office/drawing/2014/main" id="{FFB70069-1CEB-4F69-A035-824BBC00C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8488" y="5770563"/>
              <a:ext cx="169862" cy="257175"/>
            </a:xfrm>
            <a:custGeom>
              <a:avLst/>
              <a:gdLst>
                <a:gd name="T0" fmla="*/ 11 w 107"/>
                <a:gd name="T1" fmla="*/ 34 h 162"/>
                <a:gd name="T2" fmla="*/ 0 w 107"/>
                <a:gd name="T3" fmla="*/ 162 h 162"/>
                <a:gd name="T4" fmla="*/ 96 w 107"/>
                <a:gd name="T5" fmla="*/ 128 h 162"/>
                <a:gd name="T6" fmla="*/ 107 w 107"/>
                <a:gd name="T7" fmla="*/ 0 h 162"/>
                <a:gd name="T8" fmla="*/ 11 w 107"/>
                <a:gd name="T9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62">
                  <a:moveTo>
                    <a:pt x="11" y="34"/>
                  </a:moveTo>
                  <a:lnTo>
                    <a:pt x="0" y="162"/>
                  </a:lnTo>
                  <a:lnTo>
                    <a:pt x="96" y="128"/>
                  </a:lnTo>
                  <a:lnTo>
                    <a:pt x="107" y="0"/>
                  </a:lnTo>
                  <a:lnTo>
                    <a:pt x="11" y="34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101">
              <a:extLst>
                <a:ext uri="{FF2B5EF4-FFF2-40B4-BE49-F238E27FC236}">
                  <a16:creationId xmlns:a16="http://schemas.microsoft.com/office/drawing/2014/main" id="{290A9DCC-ABEF-4CDA-97D8-949C99E88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4313" y="5749925"/>
              <a:ext cx="466725" cy="669925"/>
            </a:xfrm>
            <a:custGeom>
              <a:avLst/>
              <a:gdLst>
                <a:gd name="T0" fmla="*/ 146 w 156"/>
                <a:gd name="T1" fmla="*/ 199 h 224"/>
                <a:gd name="T2" fmla="*/ 77 w 156"/>
                <a:gd name="T3" fmla="*/ 222 h 224"/>
                <a:gd name="T4" fmla="*/ 62 w 156"/>
                <a:gd name="T5" fmla="*/ 214 h 224"/>
                <a:gd name="T6" fmla="*/ 3 w 156"/>
                <a:gd name="T7" fmla="*/ 42 h 224"/>
                <a:gd name="T8" fmla="*/ 10 w 156"/>
                <a:gd name="T9" fmla="*/ 26 h 224"/>
                <a:gd name="T10" fmla="*/ 79 w 156"/>
                <a:gd name="T11" fmla="*/ 3 h 224"/>
                <a:gd name="T12" fmla="*/ 95 w 156"/>
                <a:gd name="T13" fmla="*/ 10 h 224"/>
                <a:gd name="T14" fmla="*/ 154 w 156"/>
                <a:gd name="T15" fmla="*/ 183 h 224"/>
                <a:gd name="T16" fmla="*/ 146 w 156"/>
                <a:gd name="T17" fmla="*/ 19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24">
                  <a:moveTo>
                    <a:pt x="146" y="199"/>
                  </a:moveTo>
                  <a:cubicBezTo>
                    <a:pt x="77" y="222"/>
                    <a:pt x="77" y="222"/>
                    <a:pt x="77" y="222"/>
                  </a:cubicBezTo>
                  <a:cubicBezTo>
                    <a:pt x="71" y="224"/>
                    <a:pt x="64" y="221"/>
                    <a:pt x="62" y="214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0" y="36"/>
                    <a:pt x="4" y="28"/>
                    <a:pt x="10" y="26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85" y="0"/>
                    <a:pt x="93" y="4"/>
                    <a:pt x="95" y="10"/>
                  </a:cubicBezTo>
                  <a:cubicBezTo>
                    <a:pt x="154" y="183"/>
                    <a:pt x="154" y="183"/>
                    <a:pt x="154" y="183"/>
                  </a:cubicBezTo>
                  <a:cubicBezTo>
                    <a:pt x="156" y="189"/>
                    <a:pt x="153" y="196"/>
                    <a:pt x="146" y="199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102">
              <a:extLst>
                <a:ext uri="{FF2B5EF4-FFF2-40B4-BE49-F238E27FC236}">
                  <a16:creationId xmlns:a16="http://schemas.microsoft.com/office/drawing/2014/main" id="{BE1E8F11-A68A-405D-B039-EC8B3797E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4738" y="5299075"/>
              <a:ext cx="901700" cy="755650"/>
            </a:xfrm>
            <a:custGeom>
              <a:avLst/>
              <a:gdLst>
                <a:gd name="T0" fmla="*/ 291 w 301"/>
                <a:gd name="T1" fmla="*/ 175 h 253"/>
                <a:gd name="T2" fmla="*/ 69 w 301"/>
                <a:gd name="T3" fmla="*/ 251 h 253"/>
                <a:gd name="T4" fmla="*/ 53 w 301"/>
                <a:gd name="T5" fmla="*/ 243 h 253"/>
                <a:gd name="T6" fmla="*/ 2 w 301"/>
                <a:gd name="T7" fmla="*/ 94 h 253"/>
                <a:gd name="T8" fmla="*/ 10 w 301"/>
                <a:gd name="T9" fmla="*/ 78 h 253"/>
                <a:gd name="T10" fmla="*/ 232 w 301"/>
                <a:gd name="T11" fmla="*/ 2 h 253"/>
                <a:gd name="T12" fmla="*/ 247 w 301"/>
                <a:gd name="T13" fmla="*/ 9 h 253"/>
                <a:gd name="T14" fmla="*/ 299 w 301"/>
                <a:gd name="T15" fmla="*/ 159 h 253"/>
                <a:gd name="T16" fmla="*/ 291 w 301"/>
                <a:gd name="T17" fmla="*/ 17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1" h="253">
                  <a:moveTo>
                    <a:pt x="291" y="175"/>
                  </a:moveTo>
                  <a:cubicBezTo>
                    <a:pt x="69" y="251"/>
                    <a:pt x="69" y="251"/>
                    <a:pt x="69" y="251"/>
                  </a:cubicBezTo>
                  <a:cubicBezTo>
                    <a:pt x="62" y="253"/>
                    <a:pt x="55" y="250"/>
                    <a:pt x="53" y="243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0" y="87"/>
                    <a:pt x="3" y="80"/>
                    <a:pt x="10" y="78"/>
                  </a:cubicBezTo>
                  <a:cubicBezTo>
                    <a:pt x="232" y="2"/>
                    <a:pt x="232" y="2"/>
                    <a:pt x="232" y="2"/>
                  </a:cubicBezTo>
                  <a:cubicBezTo>
                    <a:pt x="238" y="0"/>
                    <a:pt x="245" y="3"/>
                    <a:pt x="247" y="9"/>
                  </a:cubicBezTo>
                  <a:cubicBezTo>
                    <a:pt x="299" y="159"/>
                    <a:pt x="299" y="159"/>
                    <a:pt x="299" y="159"/>
                  </a:cubicBezTo>
                  <a:cubicBezTo>
                    <a:pt x="301" y="166"/>
                    <a:pt x="297" y="173"/>
                    <a:pt x="291" y="175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103">
              <a:extLst>
                <a:ext uri="{FF2B5EF4-FFF2-40B4-BE49-F238E27FC236}">
                  <a16:creationId xmlns:a16="http://schemas.microsoft.com/office/drawing/2014/main" id="{00E8DE5C-0F4F-4283-9559-7EE49F070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6500" y="5481638"/>
              <a:ext cx="222250" cy="531813"/>
            </a:xfrm>
            <a:custGeom>
              <a:avLst/>
              <a:gdLst>
                <a:gd name="T0" fmla="*/ 140 w 140"/>
                <a:gd name="T1" fmla="*/ 325 h 335"/>
                <a:gd name="T2" fmla="*/ 111 w 140"/>
                <a:gd name="T3" fmla="*/ 335 h 335"/>
                <a:gd name="T4" fmla="*/ 0 w 140"/>
                <a:gd name="T5" fmla="*/ 9 h 335"/>
                <a:gd name="T6" fmla="*/ 29 w 140"/>
                <a:gd name="T7" fmla="*/ 0 h 335"/>
                <a:gd name="T8" fmla="*/ 140 w 140"/>
                <a:gd name="T9" fmla="*/ 32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335">
                  <a:moveTo>
                    <a:pt x="140" y="325"/>
                  </a:moveTo>
                  <a:lnTo>
                    <a:pt x="111" y="335"/>
                  </a:lnTo>
                  <a:lnTo>
                    <a:pt x="0" y="9"/>
                  </a:lnTo>
                  <a:lnTo>
                    <a:pt x="29" y="0"/>
                  </a:lnTo>
                  <a:lnTo>
                    <a:pt x="140" y="325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104">
              <a:extLst>
                <a:ext uri="{FF2B5EF4-FFF2-40B4-BE49-F238E27FC236}">
                  <a16:creationId xmlns:a16="http://schemas.microsoft.com/office/drawing/2014/main" id="{10C3BA19-28CE-4B2E-9EC6-5B2B5AE53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0638" y="5451475"/>
              <a:ext cx="223837" cy="534988"/>
            </a:xfrm>
            <a:custGeom>
              <a:avLst/>
              <a:gdLst>
                <a:gd name="T0" fmla="*/ 141 w 141"/>
                <a:gd name="T1" fmla="*/ 327 h 337"/>
                <a:gd name="T2" fmla="*/ 113 w 141"/>
                <a:gd name="T3" fmla="*/ 337 h 337"/>
                <a:gd name="T4" fmla="*/ 0 w 141"/>
                <a:gd name="T5" fmla="*/ 9 h 337"/>
                <a:gd name="T6" fmla="*/ 28 w 141"/>
                <a:gd name="T7" fmla="*/ 0 h 337"/>
                <a:gd name="T8" fmla="*/ 141 w 141"/>
                <a:gd name="T9" fmla="*/ 32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37">
                  <a:moveTo>
                    <a:pt x="141" y="327"/>
                  </a:moveTo>
                  <a:lnTo>
                    <a:pt x="113" y="337"/>
                  </a:lnTo>
                  <a:lnTo>
                    <a:pt x="0" y="9"/>
                  </a:lnTo>
                  <a:lnTo>
                    <a:pt x="28" y="0"/>
                  </a:lnTo>
                  <a:lnTo>
                    <a:pt x="141" y="327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105">
              <a:extLst>
                <a:ext uri="{FF2B5EF4-FFF2-40B4-BE49-F238E27FC236}">
                  <a16:creationId xmlns:a16="http://schemas.microsoft.com/office/drawing/2014/main" id="{E40BD164-FC46-4F92-A0A5-40373C585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6638" y="5597525"/>
              <a:ext cx="247650" cy="406400"/>
            </a:xfrm>
            <a:custGeom>
              <a:avLst/>
              <a:gdLst>
                <a:gd name="T0" fmla="*/ 64 w 83"/>
                <a:gd name="T1" fmla="*/ 132 h 136"/>
                <a:gd name="T2" fmla="*/ 64 w 83"/>
                <a:gd name="T3" fmla="*/ 132 h 136"/>
                <a:gd name="T4" fmla="*/ 79 w 83"/>
                <a:gd name="T5" fmla="*/ 101 h 136"/>
                <a:gd name="T6" fmla="*/ 51 w 83"/>
                <a:gd name="T7" fmla="*/ 19 h 136"/>
                <a:gd name="T8" fmla="*/ 20 w 83"/>
                <a:gd name="T9" fmla="*/ 4 h 136"/>
                <a:gd name="T10" fmla="*/ 20 w 83"/>
                <a:gd name="T11" fmla="*/ 4 h 136"/>
                <a:gd name="T12" fmla="*/ 5 w 83"/>
                <a:gd name="T13" fmla="*/ 35 h 136"/>
                <a:gd name="T14" fmla="*/ 33 w 83"/>
                <a:gd name="T15" fmla="*/ 117 h 136"/>
                <a:gd name="T16" fmla="*/ 64 w 83"/>
                <a:gd name="T17" fmla="*/ 13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36">
                  <a:moveTo>
                    <a:pt x="64" y="132"/>
                  </a:moveTo>
                  <a:cubicBezTo>
                    <a:pt x="64" y="132"/>
                    <a:pt x="64" y="132"/>
                    <a:pt x="64" y="132"/>
                  </a:cubicBezTo>
                  <a:cubicBezTo>
                    <a:pt x="76" y="128"/>
                    <a:pt x="83" y="114"/>
                    <a:pt x="79" y="101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7" y="7"/>
                    <a:pt x="33" y="0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7" y="8"/>
                    <a:pt x="0" y="22"/>
                    <a:pt x="5" y="35"/>
                  </a:cubicBezTo>
                  <a:cubicBezTo>
                    <a:pt x="33" y="117"/>
                    <a:pt x="33" y="117"/>
                    <a:pt x="33" y="117"/>
                  </a:cubicBezTo>
                  <a:cubicBezTo>
                    <a:pt x="37" y="130"/>
                    <a:pt x="51" y="136"/>
                    <a:pt x="64" y="132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106">
              <a:extLst>
                <a:ext uri="{FF2B5EF4-FFF2-40B4-BE49-F238E27FC236}">
                  <a16:creationId xmlns:a16="http://schemas.microsoft.com/office/drawing/2014/main" id="{4DAF8236-ACC2-42AE-9BD5-678DDDE7A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25" y="5711825"/>
              <a:ext cx="80962" cy="34925"/>
            </a:xfrm>
            <a:custGeom>
              <a:avLst/>
              <a:gdLst>
                <a:gd name="T0" fmla="*/ 51 w 51"/>
                <a:gd name="T1" fmla="*/ 7 h 22"/>
                <a:gd name="T2" fmla="*/ 2 w 51"/>
                <a:gd name="T3" fmla="*/ 22 h 22"/>
                <a:gd name="T4" fmla="*/ 0 w 51"/>
                <a:gd name="T5" fmla="*/ 17 h 22"/>
                <a:gd name="T6" fmla="*/ 49 w 51"/>
                <a:gd name="T7" fmla="*/ 0 h 22"/>
                <a:gd name="T8" fmla="*/ 51 w 51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1" y="7"/>
                  </a:moveTo>
                  <a:lnTo>
                    <a:pt x="2" y="22"/>
                  </a:lnTo>
                  <a:lnTo>
                    <a:pt x="0" y="17"/>
                  </a:lnTo>
                  <a:lnTo>
                    <a:pt x="49" y="0"/>
                  </a:lnTo>
                  <a:lnTo>
                    <a:pt x="51" y="7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107">
              <a:extLst>
                <a:ext uri="{FF2B5EF4-FFF2-40B4-BE49-F238E27FC236}">
                  <a16:creationId xmlns:a16="http://schemas.microsoft.com/office/drawing/2014/main" id="{E35584A0-06E9-4A6E-9B42-0136E36D3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13" y="5756275"/>
              <a:ext cx="80962" cy="34925"/>
            </a:xfrm>
            <a:custGeom>
              <a:avLst/>
              <a:gdLst>
                <a:gd name="T0" fmla="*/ 51 w 51"/>
                <a:gd name="T1" fmla="*/ 7 h 22"/>
                <a:gd name="T2" fmla="*/ 2 w 51"/>
                <a:gd name="T3" fmla="*/ 22 h 22"/>
                <a:gd name="T4" fmla="*/ 0 w 51"/>
                <a:gd name="T5" fmla="*/ 17 h 22"/>
                <a:gd name="T6" fmla="*/ 49 w 51"/>
                <a:gd name="T7" fmla="*/ 0 h 22"/>
                <a:gd name="T8" fmla="*/ 51 w 51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2">
                  <a:moveTo>
                    <a:pt x="51" y="7"/>
                  </a:moveTo>
                  <a:lnTo>
                    <a:pt x="2" y="22"/>
                  </a:lnTo>
                  <a:lnTo>
                    <a:pt x="0" y="17"/>
                  </a:lnTo>
                  <a:lnTo>
                    <a:pt x="49" y="0"/>
                  </a:lnTo>
                  <a:lnTo>
                    <a:pt x="51" y="7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108">
              <a:extLst>
                <a:ext uri="{FF2B5EF4-FFF2-40B4-BE49-F238E27FC236}">
                  <a16:creationId xmlns:a16="http://schemas.microsoft.com/office/drawing/2014/main" id="{FE942DA2-39AB-43A0-BE69-A92C1F986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788" y="5800725"/>
              <a:ext cx="80962" cy="36513"/>
            </a:xfrm>
            <a:custGeom>
              <a:avLst/>
              <a:gdLst>
                <a:gd name="T0" fmla="*/ 51 w 51"/>
                <a:gd name="T1" fmla="*/ 8 h 23"/>
                <a:gd name="T2" fmla="*/ 2 w 51"/>
                <a:gd name="T3" fmla="*/ 23 h 23"/>
                <a:gd name="T4" fmla="*/ 0 w 51"/>
                <a:gd name="T5" fmla="*/ 17 h 23"/>
                <a:gd name="T6" fmla="*/ 49 w 51"/>
                <a:gd name="T7" fmla="*/ 0 h 23"/>
                <a:gd name="T8" fmla="*/ 51 w 51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3">
                  <a:moveTo>
                    <a:pt x="51" y="8"/>
                  </a:moveTo>
                  <a:lnTo>
                    <a:pt x="2" y="23"/>
                  </a:lnTo>
                  <a:lnTo>
                    <a:pt x="0" y="17"/>
                  </a:lnTo>
                  <a:lnTo>
                    <a:pt x="49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109">
              <a:extLst>
                <a:ext uri="{FF2B5EF4-FFF2-40B4-BE49-F238E27FC236}">
                  <a16:creationId xmlns:a16="http://schemas.microsoft.com/office/drawing/2014/main" id="{05190B73-624F-4474-B851-F52F30DEB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8075" y="5845175"/>
              <a:ext cx="80962" cy="36513"/>
            </a:xfrm>
            <a:custGeom>
              <a:avLst/>
              <a:gdLst>
                <a:gd name="T0" fmla="*/ 51 w 51"/>
                <a:gd name="T1" fmla="*/ 8 h 23"/>
                <a:gd name="T2" fmla="*/ 2 w 51"/>
                <a:gd name="T3" fmla="*/ 23 h 23"/>
                <a:gd name="T4" fmla="*/ 0 w 51"/>
                <a:gd name="T5" fmla="*/ 17 h 23"/>
                <a:gd name="T6" fmla="*/ 49 w 51"/>
                <a:gd name="T7" fmla="*/ 0 h 23"/>
                <a:gd name="T8" fmla="*/ 51 w 51"/>
                <a:gd name="T9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3">
                  <a:moveTo>
                    <a:pt x="51" y="8"/>
                  </a:moveTo>
                  <a:lnTo>
                    <a:pt x="2" y="23"/>
                  </a:lnTo>
                  <a:lnTo>
                    <a:pt x="0" y="17"/>
                  </a:lnTo>
                  <a:lnTo>
                    <a:pt x="49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110">
              <a:extLst>
                <a:ext uri="{FF2B5EF4-FFF2-40B4-BE49-F238E27FC236}">
                  <a16:creationId xmlns:a16="http://schemas.microsoft.com/office/drawing/2014/main" id="{0BEFFBB4-51AD-4C00-92ED-F2AE7C988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3950" y="5891213"/>
              <a:ext cx="79375" cy="34925"/>
            </a:xfrm>
            <a:custGeom>
              <a:avLst/>
              <a:gdLst>
                <a:gd name="T0" fmla="*/ 50 w 50"/>
                <a:gd name="T1" fmla="*/ 5 h 22"/>
                <a:gd name="T2" fmla="*/ 3 w 50"/>
                <a:gd name="T3" fmla="*/ 22 h 22"/>
                <a:gd name="T4" fmla="*/ 0 w 50"/>
                <a:gd name="T5" fmla="*/ 16 h 22"/>
                <a:gd name="T6" fmla="*/ 48 w 50"/>
                <a:gd name="T7" fmla="*/ 0 h 22"/>
                <a:gd name="T8" fmla="*/ 50 w 50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">
                  <a:moveTo>
                    <a:pt x="50" y="5"/>
                  </a:moveTo>
                  <a:lnTo>
                    <a:pt x="3" y="22"/>
                  </a:lnTo>
                  <a:lnTo>
                    <a:pt x="0" y="16"/>
                  </a:lnTo>
                  <a:lnTo>
                    <a:pt x="48" y="0"/>
                  </a:lnTo>
                  <a:lnTo>
                    <a:pt x="50" y="5"/>
                  </a:ln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111">
              <a:extLst>
                <a:ext uri="{FF2B5EF4-FFF2-40B4-BE49-F238E27FC236}">
                  <a16:creationId xmlns:a16="http://schemas.microsoft.com/office/drawing/2014/main" id="{04AE673E-5257-49EB-A7DA-4506E618C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7200" y="4497388"/>
              <a:ext cx="1343025" cy="1336675"/>
            </a:xfrm>
            <a:custGeom>
              <a:avLst/>
              <a:gdLst>
                <a:gd name="T0" fmla="*/ 0 w 846"/>
                <a:gd name="T1" fmla="*/ 516 h 842"/>
                <a:gd name="T2" fmla="*/ 565 w 846"/>
                <a:gd name="T3" fmla="*/ 0 h 842"/>
                <a:gd name="T4" fmla="*/ 846 w 846"/>
                <a:gd name="T5" fmla="*/ 753 h 842"/>
                <a:gd name="T6" fmla="*/ 115 w 846"/>
                <a:gd name="T7" fmla="*/ 842 h 842"/>
                <a:gd name="T8" fmla="*/ 0 w 846"/>
                <a:gd name="T9" fmla="*/ 516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6" h="842">
                  <a:moveTo>
                    <a:pt x="0" y="516"/>
                  </a:moveTo>
                  <a:lnTo>
                    <a:pt x="565" y="0"/>
                  </a:lnTo>
                  <a:lnTo>
                    <a:pt x="846" y="753"/>
                  </a:lnTo>
                  <a:lnTo>
                    <a:pt x="115" y="842"/>
                  </a:lnTo>
                  <a:lnTo>
                    <a:pt x="0" y="516"/>
                  </a:lnTo>
                  <a:close/>
                </a:path>
              </a:pathLst>
            </a:custGeom>
            <a:solidFill>
              <a:srgbClr val="60A2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112">
              <a:extLst>
                <a:ext uri="{FF2B5EF4-FFF2-40B4-BE49-F238E27FC236}">
                  <a16:creationId xmlns:a16="http://schemas.microsoft.com/office/drawing/2014/main" id="{F4D60723-8D6C-4FC3-B420-93051EE1F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8888" y="4394200"/>
              <a:ext cx="763587" cy="1328738"/>
            </a:xfrm>
            <a:custGeom>
              <a:avLst/>
              <a:gdLst>
                <a:gd name="T0" fmla="*/ 53 w 255"/>
                <a:gd name="T1" fmla="*/ 17 h 445"/>
                <a:gd name="T2" fmla="*/ 13 w 255"/>
                <a:gd name="T3" fmla="*/ 177 h 445"/>
                <a:gd name="T4" fmla="*/ 93 w 255"/>
                <a:gd name="T5" fmla="*/ 249 h 445"/>
                <a:gd name="T6" fmla="*/ 89 w 255"/>
                <a:gd name="T7" fmla="*/ 357 h 445"/>
                <a:gd name="T8" fmla="*/ 82 w 255"/>
                <a:gd name="T9" fmla="*/ 359 h 445"/>
                <a:gd name="T10" fmla="*/ 195 w 255"/>
                <a:gd name="T11" fmla="*/ 433 h 445"/>
                <a:gd name="T12" fmla="*/ 215 w 255"/>
                <a:gd name="T13" fmla="*/ 194 h 445"/>
                <a:gd name="T14" fmla="*/ 53 w 255"/>
                <a:gd name="T15" fmla="*/ 1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" h="445">
                  <a:moveTo>
                    <a:pt x="53" y="17"/>
                  </a:moveTo>
                  <a:cubicBezTo>
                    <a:pt x="14" y="31"/>
                    <a:pt x="0" y="96"/>
                    <a:pt x="13" y="177"/>
                  </a:cubicBezTo>
                  <a:cubicBezTo>
                    <a:pt x="36" y="170"/>
                    <a:pt x="72" y="201"/>
                    <a:pt x="93" y="249"/>
                  </a:cubicBezTo>
                  <a:cubicBezTo>
                    <a:pt x="115" y="298"/>
                    <a:pt x="113" y="347"/>
                    <a:pt x="89" y="357"/>
                  </a:cubicBezTo>
                  <a:cubicBezTo>
                    <a:pt x="87" y="358"/>
                    <a:pt x="85" y="359"/>
                    <a:pt x="82" y="359"/>
                  </a:cubicBezTo>
                  <a:cubicBezTo>
                    <a:pt x="119" y="414"/>
                    <a:pt x="162" y="445"/>
                    <a:pt x="195" y="433"/>
                  </a:cubicBezTo>
                  <a:cubicBezTo>
                    <a:pt x="246" y="416"/>
                    <a:pt x="255" y="309"/>
                    <a:pt x="215" y="194"/>
                  </a:cubicBezTo>
                  <a:cubicBezTo>
                    <a:pt x="176" y="79"/>
                    <a:pt x="103" y="0"/>
                    <a:pt x="53" y="17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113">
              <a:extLst>
                <a:ext uri="{FF2B5EF4-FFF2-40B4-BE49-F238E27FC236}">
                  <a16:creationId xmlns:a16="http://schemas.microsoft.com/office/drawing/2014/main" id="{85598C0A-97A2-4BA0-9226-E8F4F8551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8575" y="4902200"/>
              <a:ext cx="304800" cy="563563"/>
            </a:xfrm>
            <a:custGeom>
              <a:avLst/>
              <a:gdLst>
                <a:gd name="T0" fmla="*/ 76 w 102"/>
                <a:gd name="T1" fmla="*/ 187 h 189"/>
                <a:gd name="T2" fmla="*/ 80 w 102"/>
                <a:gd name="T3" fmla="*/ 79 h 189"/>
                <a:gd name="T4" fmla="*/ 0 w 102"/>
                <a:gd name="T5" fmla="*/ 7 h 189"/>
                <a:gd name="T6" fmla="*/ 19 w 102"/>
                <a:gd name="T7" fmla="*/ 87 h 189"/>
                <a:gd name="T8" fmla="*/ 69 w 102"/>
                <a:gd name="T9" fmla="*/ 189 h 189"/>
                <a:gd name="T10" fmla="*/ 76 w 102"/>
                <a:gd name="T11" fmla="*/ 18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2" h="189">
                  <a:moveTo>
                    <a:pt x="76" y="187"/>
                  </a:moveTo>
                  <a:cubicBezTo>
                    <a:pt x="100" y="177"/>
                    <a:pt x="102" y="128"/>
                    <a:pt x="80" y="79"/>
                  </a:cubicBezTo>
                  <a:cubicBezTo>
                    <a:pt x="59" y="31"/>
                    <a:pt x="23" y="0"/>
                    <a:pt x="0" y="7"/>
                  </a:cubicBezTo>
                  <a:cubicBezTo>
                    <a:pt x="4" y="33"/>
                    <a:pt x="10" y="59"/>
                    <a:pt x="19" y="87"/>
                  </a:cubicBezTo>
                  <a:cubicBezTo>
                    <a:pt x="33" y="126"/>
                    <a:pt x="50" y="161"/>
                    <a:pt x="69" y="189"/>
                  </a:cubicBezTo>
                  <a:cubicBezTo>
                    <a:pt x="72" y="189"/>
                    <a:pt x="74" y="188"/>
                    <a:pt x="76" y="187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114">
              <a:extLst>
                <a:ext uri="{FF2B5EF4-FFF2-40B4-BE49-F238E27FC236}">
                  <a16:creationId xmlns:a16="http://schemas.microsoft.com/office/drawing/2014/main" id="{6E0DDB43-5C0C-460E-9D8E-2F188762F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2250" y="5815013"/>
              <a:ext cx="331787" cy="53975"/>
            </a:xfrm>
            <a:custGeom>
              <a:avLst/>
              <a:gdLst>
                <a:gd name="T0" fmla="*/ 109 w 111"/>
                <a:gd name="T1" fmla="*/ 2 h 18"/>
                <a:gd name="T2" fmla="*/ 71 w 111"/>
                <a:gd name="T3" fmla="*/ 14 h 18"/>
                <a:gd name="T4" fmla="*/ 26 w 111"/>
                <a:gd name="T5" fmla="*/ 10 h 18"/>
                <a:gd name="T6" fmla="*/ 2 w 111"/>
                <a:gd name="T7" fmla="*/ 1 h 18"/>
                <a:gd name="T8" fmla="*/ 1 w 111"/>
                <a:gd name="T9" fmla="*/ 2 h 18"/>
                <a:gd name="T10" fmla="*/ 23 w 111"/>
                <a:gd name="T11" fmla="*/ 11 h 18"/>
                <a:gd name="T12" fmla="*/ 46 w 111"/>
                <a:gd name="T13" fmla="*/ 16 h 18"/>
                <a:gd name="T14" fmla="*/ 89 w 111"/>
                <a:gd name="T15" fmla="*/ 13 h 18"/>
                <a:gd name="T16" fmla="*/ 110 w 111"/>
                <a:gd name="T17" fmla="*/ 4 h 18"/>
                <a:gd name="T18" fmla="*/ 109 w 111"/>
                <a:gd name="T1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8">
                  <a:moveTo>
                    <a:pt x="109" y="2"/>
                  </a:moveTo>
                  <a:cubicBezTo>
                    <a:pt x="97" y="9"/>
                    <a:pt x="84" y="13"/>
                    <a:pt x="71" y="14"/>
                  </a:cubicBezTo>
                  <a:cubicBezTo>
                    <a:pt x="56" y="16"/>
                    <a:pt x="41" y="14"/>
                    <a:pt x="26" y="10"/>
                  </a:cubicBezTo>
                  <a:cubicBezTo>
                    <a:pt x="18" y="8"/>
                    <a:pt x="9" y="5"/>
                    <a:pt x="2" y="1"/>
                  </a:cubicBezTo>
                  <a:cubicBezTo>
                    <a:pt x="1" y="0"/>
                    <a:pt x="0" y="2"/>
                    <a:pt x="1" y="2"/>
                  </a:cubicBezTo>
                  <a:cubicBezTo>
                    <a:pt x="8" y="6"/>
                    <a:pt x="15" y="9"/>
                    <a:pt x="23" y="11"/>
                  </a:cubicBezTo>
                  <a:cubicBezTo>
                    <a:pt x="30" y="13"/>
                    <a:pt x="38" y="15"/>
                    <a:pt x="46" y="16"/>
                  </a:cubicBezTo>
                  <a:cubicBezTo>
                    <a:pt x="60" y="18"/>
                    <a:pt x="75" y="17"/>
                    <a:pt x="89" y="13"/>
                  </a:cubicBezTo>
                  <a:cubicBezTo>
                    <a:pt x="96" y="11"/>
                    <a:pt x="103" y="8"/>
                    <a:pt x="110" y="4"/>
                  </a:cubicBezTo>
                  <a:cubicBezTo>
                    <a:pt x="111" y="4"/>
                    <a:pt x="110" y="2"/>
                    <a:pt x="109" y="2"/>
                  </a:cubicBezTo>
                  <a:close/>
                </a:path>
              </a:pathLst>
            </a:custGeom>
            <a:solidFill>
              <a:srgbClr val="C04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115">
              <a:extLst>
                <a:ext uri="{FF2B5EF4-FFF2-40B4-BE49-F238E27FC236}">
                  <a16:creationId xmlns:a16="http://schemas.microsoft.com/office/drawing/2014/main" id="{850725BA-5B71-42F2-A3F3-92649EE99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2725" y="5807075"/>
              <a:ext cx="354012" cy="68263"/>
            </a:xfrm>
            <a:custGeom>
              <a:avLst/>
              <a:gdLst>
                <a:gd name="T0" fmla="*/ 64 w 118"/>
                <a:gd name="T1" fmla="*/ 23 h 23"/>
                <a:gd name="T2" fmla="*/ 48 w 118"/>
                <a:gd name="T3" fmla="*/ 22 h 23"/>
                <a:gd name="T4" fmla="*/ 25 w 118"/>
                <a:gd name="T5" fmla="*/ 18 h 23"/>
                <a:gd name="T6" fmla="*/ 2 w 118"/>
                <a:gd name="T7" fmla="*/ 8 h 23"/>
                <a:gd name="T8" fmla="*/ 0 w 118"/>
                <a:gd name="T9" fmla="*/ 5 h 23"/>
                <a:gd name="T10" fmla="*/ 2 w 118"/>
                <a:gd name="T11" fmla="*/ 1 h 23"/>
                <a:gd name="T12" fmla="*/ 7 w 118"/>
                <a:gd name="T13" fmla="*/ 1 h 23"/>
                <a:gd name="T14" fmla="*/ 30 w 118"/>
                <a:gd name="T15" fmla="*/ 10 h 23"/>
                <a:gd name="T16" fmla="*/ 74 w 118"/>
                <a:gd name="T17" fmla="*/ 14 h 23"/>
                <a:gd name="T18" fmla="*/ 110 w 118"/>
                <a:gd name="T19" fmla="*/ 2 h 23"/>
                <a:gd name="T20" fmla="*/ 110 w 118"/>
                <a:gd name="T21" fmla="*/ 2 h 23"/>
                <a:gd name="T22" fmla="*/ 116 w 118"/>
                <a:gd name="T23" fmla="*/ 4 h 23"/>
                <a:gd name="T24" fmla="*/ 115 w 118"/>
                <a:gd name="T25" fmla="*/ 10 h 23"/>
                <a:gd name="T26" fmla="*/ 93 w 118"/>
                <a:gd name="T27" fmla="*/ 20 h 23"/>
                <a:gd name="T28" fmla="*/ 64 w 118"/>
                <a:gd name="T2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23">
                  <a:moveTo>
                    <a:pt x="64" y="23"/>
                  </a:moveTo>
                  <a:cubicBezTo>
                    <a:pt x="59" y="23"/>
                    <a:pt x="53" y="23"/>
                    <a:pt x="48" y="22"/>
                  </a:cubicBezTo>
                  <a:cubicBezTo>
                    <a:pt x="41" y="21"/>
                    <a:pt x="33" y="20"/>
                    <a:pt x="25" y="18"/>
                  </a:cubicBezTo>
                  <a:cubicBezTo>
                    <a:pt x="18" y="16"/>
                    <a:pt x="10" y="13"/>
                    <a:pt x="2" y="8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14" y="5"/>
                    <a:pt x="23" y="8"/>
                    <a:pt x="30" y="10"/>
                  </a:cubicBezTo>
                  <a:cubicBezTo>
                    <a:pt x="46" y="14"/>
                    <a:pt x="60" y="15"/>
                    <a:pt x="74" y="14"/>
                  </a:cubicBezTo>
                  <a:cubicBezTo>
                    <a:pt x="87" y="13"/>
                    <a:pt x="100" y="9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2" y="1"/>
                    <a:pt x="115" y="2"/>
                    <a:pt x="116" y="4"/>
                  </a:cubicBezTo>
                  <a:cubicBezTo>
                    <a:pt x="118" y="6"/>
                    <a:pt x="117" y="9"/>
                    <a:pt x="115" y="10"/>
                  </a:cubicBezTo>
                  <a:cubicBezTo>
                    <a:pt x="108" y="14"/>
                    <a:pt x="101" y="17"/>
                    <a:pt x="93" y="20"/>
                  </a:cubicBezTo>
                  <a:cubicBezTo>
                    <a:pt x="84" y="22"/>
                    <a:pt x="74" y="23"/>
                    <a:pt x="64" y="23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116">
              <a:extLst>
                <a:ext uri="{FF2B5EF4-FFF2-40B4-BE49-F238E27FC236}">
                  <a16:creationId xmlns:a16="http://schemas.microsoft.com/office/drawing/2014/main" id="{E4DD260E-4838-43AC-9AD2-2394AA0BE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5100" y="5915025"/>
              <a:ext cx="331787" cy="50800"/>
            </a:xfrm>
            <a:custGeom>
              <a:avLst/>
              <a:gdLst>
                <a:gd name="T0" fmla="*/ 109 w 111"/>
                <a:gd name="T1" fmla="*/ 2 h 17"/>
                <a:gd name="T2" fmla="*/ 71 w 111"/>
                <a:gd name="T3" fmla="*/ 14 h 17"/>
                <a:gd name="T4" fmla="*/ 26 w 111"/>
                <a:gd name="T5" fmla="*/ 10 h 17"/>
                <a:gd name="T6" fmla="*/ 2 w 111"/>
                <a:gd name="T7" fmla="*/ 0 h 17"/>
                <a:gd name="T8" fmla="*/ 1 w 111"/>
                <a:gd name="T9" fmla="*/ 2 h 17"/>
                <a:gd name="T10" fmla="*/ 23 w 111"/>
                <a:gd name="T11" fmla="*/ 11 h 17"/>
                <a:gd name="T12" fmla="*/ 46 w 111"/>
                <a:gd name="T13" fmla="*/ 15 h 17"/>
                <a:gd name="T14" fmla="*/ 89 w 111"/>
                <a:gd name="T15" fmla="*/ 13 h 17"/>
                <a:gd name="T16" fmla="*/ 110 w 111"/>
                <a:gd name="T17" fmla="*/ 4 h 17"/>
                <a:gd name="T18" fmla="*/ 109 w 111"/>
                <a:gd name="T1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" h="17">
                  <a:moveTo>
                    <a:pt x="109" y="2"/>
                  </a:moveTo>
                  <a:cubicBezTo>
                    <a:pt x="98" y="9"/>
                    <a:pt x="84" y="13"/>
                    <a:pt x="71" y="14"/>
                  </a:cubicBezTo>
                  <a:cubicBezTo>
                    <a:pt x="56" y="15"/>
                    <a:pt x="41" y="13"/>
                    <a:pt x="26" y="10"/>
                  </a:cubicBezTo>
                  <a:cubicBezTo>
                    <a:pt x="18" y="8"/>
                    <a:pt x="9" y="5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8" y="6"/>
                    <a:pt x="15" y="9"/>
                    <a:pt x="23" y="11"/>
                  </a:cubicBezTo>
                  <a:cubicBezTo>
                    <a:pt x="30" y="13"/>
                    <a:pt x="38" y="14"/>
                    <a:pt x="46" y="15"/>
                  </a:cubicBezTo>
                  <a:cubicBezTo>
                    <a:pt x="60" y="17"/>
                    <a:pt x="75" y="16"/>
                    <a:pt x="89" y="13"/>
                  </a:cubicBezTo>
                  <a:cubicBezTo>
                    <a:pt x="96" y="11"/>
                    <a:pt x="103" y="8"/>
                    <a:pt x="110" y="4"/>
                  </a:cubicBezTo>
                  <a:cubicBezTo>
                    <a:pt x="111" y="3"/>
                    <a:pt x="110" y="1"/>
                    <a:pt x="109" y="2"/>
                  </a:cubicBezTo>
                  <a:close/>
                </a:path>
              </a:pathLst>
            </a:custGeom>
            <a:solidFill>
              <a:srgbClr val="C04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117">
              <a:extLst>
                <a:ext uri="{FF2B5EF4-FFF2-40B4-BE49-F238E27FC236}">
                  <a16:creationId xmlns:a16="http://schemas.microsoft.com/office/drawing/2014/main" id="{5D35ACBD-6D78-447F-8722-DCF589C13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7163" y="5902325"/>
              <a:ext cx="352425" cy="71438"/>
            </a:xfrm>
            <a:custGeom>
              <a:avLst/>
              <a:gdLst>
                <a:gd name="T0" fmla="*/ 64 w 118"/>
                <a:gd name="T1" fmla="*/ 24 h 24"/>
                <a:gd name="T2" fmla="*/ 48 w 118"/>
                <a:gd name="T3" fmla="*/ 23 h 24"/>
                <a:gd name="T4" fmla="*/ 25 w 118"/>
                <a:gd name="T5" fmla="*/ 18 h 24"/>
                <a:gd name="T6" fmla="*/ 2 w 118"/>
                <a:gd name="T7" fmla="*/ 9 h 24"/>
                <a:gd name="T8" fmla="*/ 0 w 118"/>
                <a:gd name="T9" fmla="*/ 5 h 24"/>
                <a:gd name="T10" fmla="*/ 2 w 118"/>
                <a:gd name="T11" fmla="*/ 1 h 24"/>
                <a:gd name="T12" fmla="*/ 7 w 118"/>
                <a:gd name="T13" fmla="*/ 1 h 24"/>
                <a:gd name="T14" fmla="*/ 30 w 118"/>
                <a:gd name="T15" fmla="*/ 10 h 24"/>
                <a:gd name="T16" fmla="*/ 74 w 118"/>
                <a:gd name="T17" fmla="*/ 14 h 24"/>
                <a:gd name="T18" fmla="*/ 110 w 118"/>
                <a:gd name="T19" fmla="*/ 3 h 24"/>
                <a:gd name="T20" fmla="*/ 110 w 118"/>
                <a:gd name="T21" fmla="*/ 3 h 24"/>
                <a:gd name="T22" fmla="*/ 116 w 118"/>
                <a:gd name="T23" fmla="*/ 5 h 24"/>
                <a:gd name="T24" fmla="*/ 115 w 118"/>
                <a:gd name="T25" fmla="*/ 11 h 24"/>
                <a:gd name="T26" fmla="*/ 93 w 118"/>
                <a:gd name="T27" fmla="*/ 20 h 24"/>
                <a:gd name="T28" fmla="*/ 64 w 118"/>
                <a:gd name="T2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8" h="24">
                  <a:moveTo>
                    <a:pt x="64" y="24"/>
                  </a:moveTo>
                  <a:cubicBezTo>
                    <a:pt x="59" y="24"/>
                    <a:pt x="54" y="24"/>
                    <a:pt x="48" y="23"/>
                  </a:cubicBezTo>
                  <a:cubicBezTo>
                    <a:pt x="41" y="22"/>
                    <a:pt x="33" y="20"/>
                    <a:pt x="25" y="18"/>
                  </a:cubicBezTo>
                  <a:cubicBezTo>
                    <a:pt x="18" y="16"/>
                    <a:pt x="10" y="14"/>
                    <a:pt x="2" y="9"/>
                  </a:cubicBezTo>
                  <a:cubicBezTo>
                    <a:pt x="1" y="8"/>
                    <a:pt x="0" y="7"/>
                    <a:pt x="0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14" y="6"/>
                    <a:pt x="23" y="8"/>
                    <a:pt x="30" y="10"/>
                  </a:cubicBezTo>
                  <a:cubicBezTo>
                    <a:pt x="46" y="14"/>
                    <a:pt x="60" y="16"/>
                    <a:pt x="74" y="14"/>
                  </a:cubicBezTo>
                  <a:cubicBezTo>
                    <a:pt x="87" y="13"/>
                    <a:pt x="100" y="9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2" y="2"/>
                    <a:pt x="115" y="2"/>
                    <a:pt x="116" y="5"/>
                  </a:cubicBezTo>
                  <a:cubicBezTo>
                    <a:pt x="118" y="7"/>
                    <a:pt x="117" y="10"/>
                    <a:pt x="115" y="11"/>
                  </a:cubicBezTo>
                  <a:cubicBezTo>
                    <a:pt x="108" y="15"/>
                    <a:pt x="101" y="18"/>
                    <a:pt x="93" y="20"/>
                  </a:cubicBezTo>
                  <a:cubicBezTo>
                    <a:pt x="84" y="23"/>
                    <a:pt x="74" y="24"/>
                    <a:pt x="64" y="24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118">
              <a:extLst>
                <a:ext uri="{FF2B5EF4-FFF2-40B4-BE49-F238E27FC236}">
                  <a16:creationId xmlns:a16="http://schemas.microsoft.com/office/drawing/2014/main" id="{24F59BDD-0A9F-4BD5-8933-B40CAB5F6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6775" y="4551363"/>
              <a:ext cx="209550" cy="260350"/>
            </a:xfrm>
            <a:custGeom>
              <a:avLst/>
              <a:gdLst>
                <a:gd name="T0" fmla="*/ 2 w 70"/>
                <a:gd name="T1" fmla="*/ 86 h 87"/>
                <a:gd name="T2" fmla="*/ 16 w 70"/>
                <a:gd name="T3" fmla="*/ 48 h 87"/>
                <a:gd name="T4" fmla="*/ 46 w 70"/>
                <a:gd name="T5" fmla="*/ 15 h 87"/>
                <a:gd name="T6" fmla="*/ 68 w 70"/>
                <a:gd name="T7" fmla="*/ 2 h 87"/>
                <a:gd name="T8" fmla="*/ 68 w 70"/>
                <a:gd name="T9" fmla="*/ 0 h 87"/>
                <a:gd name="T10" fmla="*/ 47 w 70"/>
                <a:gd name="T11" fmla="*/ 12 h 87"/>
                <a:gd name="T12" fmla="*/ 30 w 70"/>
                <a:gd name="T13" fmla="*/ 27 h 87"/>
                <a:gd name="T14" fmla="*/ 6 w 70"/>
                <a:gd name="T15" fmla="*/ 63 h 87"/>
                <a:gd name="T16" fmla="*/ 0 w 70"/>
                <a:gd name="T17" fmla="*/ 85 h 87"/>
                <a:gd name="T18" fmla="*/ 2 w 70"/>
                <a:gd name="T19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87">
                  <a:moveTo>
                    <a:pt x="2" y="86"/>
                  </a:moveTo>
                  <a:cubicBezTo>
                    <a:pt x="3" y="72"/>
                    <a:pt x="8" y="59"/>
                    <a:pt x="16" y="48"/>
                  </a:cubicBezTo>
                  <a:cubicBezTo>
                    <a:pt x="24" y="35"/>
                    <a:pt x="34" y="25"/>
                    <a:pt x="46" y="15"/>
                  </a:cubicBezTo>
                  <a:cubicBezTo>
                    <a:pt x="53" y="10"/>
                    <a:pt x="60" y="5"/>
                    <a:pt x="68" y="2"/>
                  </a:cubicBezTo>
                  <a:cubicBezTo>
                    <a:pt x="70" y="1"/>
                    <a:pt x="69" y="0"/>
                    <a:pt x="68" y="0"/>
                  </a:cubicBezTo>
                  <a:cubicBezTo>
                    <a:pt x="60" y="3"/>
                    <a:pt x="54" y="7"/>
                    <a:pt x="47" y="12"/>
                  </a:cubicBezTo>
                  <a:cubicBezTo>
                    <a:pt x="41" y="17"/>
                    <a:pt x="35" y="22"/>
                    <a:pt x="30" y="27"/>
                  </a:cubicBezTo>
                  <a:cubicBezTo>
                    <a:pt x="20" y="38"/>
                    <a:pt x="11" y="50"/>
                    <a:pt x="6" y="63"/>
                  </a:cubicBezTo>
                  <a:cubicBezTo>
                    <a:pt x="3" y="70"/>
                    <a:pt x="1" y="78"/>
                    <a:pt x="0" y="85"/>
                  </a:cubicBezTo>
                  <a:cubicBezTo>
                    <a:pt x="0" y="86"/>
                    <a:pt x="2" y="87"/>
                    <a:pt x="2" y="86"/>
                  </a:cubicBezTo>
                  <a:close/>
                </a:path>
              </a:pathLst>
            </a:custGeom>
            <a:solidFill>
              <a:srgbClr val="C04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119">
              <a:extLst>
                <a:ext uri="{FF2B5EF4-FFF2-40B4-BE49-F238E27FC236}">
                  <a16:creationId xmlns:a16="http://schemas.microsoft.com/office/drawing/2014/main" id="{862ED9E8-B560-4CAE-81B2-29C0879C4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5663" y="4540250"/>
              <a:ext cx="230187" cy="280988"/>
            </a:xfrm>
            <a:custGeom>
              <a:avLst/>
              <a:gdLst>
                <a:gd name="T0" fmla="*/ 5 w 77"/>
                <a:gd name="T1" fmla="*/ 94 h 94"/>
                <a:gd name="T2" fmla="*/ 2 w 77"/>
                <a:gd name="T3" fmla="*/ 93 h 94"/>
                <a:gd name="T4" fmla="*/ 0 w 77"/>
                <a:gd name="T5" fmla="*/ 89 h 94"/>
                <a:gd name="T6" fmla="*/ 6 w 77"/>
                <a:gd name="T7" fmla="*/ 66 h 94"/>
                <a:gd name="T8" fmla="*/ 31 w 77"/>
                <a:gd name="T9" fmla="*/ 29 h 94"/>
                <a:gd name="T10" fmla="*/ 49 w 77"/>
                <a:gd name="T11" fmla="*/ 13 h 94"/>
                <a:gd name="T12" fmla="*/ 71 w 77"/>
                <a:gd name="T13" fmla="*/ 1 h 94"/>
                <a:gd name="T14" fmla="*/ 76 w 77"/>
                <a:gd name="T15" fmla="*/ 3 h 94"/>
                <a:gd name="T16" fmla="*/ 74 w 77"/>
                <a:gd name="T17" fmla="*/ 9 h 94"/>
                <a:gd name="T18" fmla="*/ 52 w 77"/>
                <a:gd name="T19" fmla="*/ 22 h 94"/>
                <a:gd name="T20" fmla="*/ 23 w 77"/>
                <a:gd name="T21" fmla="*/ 54 h 94"/>
                <a:gd name="T22" fmla="*/ 9 w 77"/>
                <a:gd name="T23" fmla="*/ 90 h 94"/>
                <a:gd name="T24" fmla="*/ 9 w 77"/>
                <a:gd name="T25" fmla="*/ 90 h 94"/>
                <a:gd name="T26" fmla="*/ 7 w 77"/>
                <a:gd name="T27" fmla="*/ 94 h 94"/>
                <a:gd name="T28" fmla="*/ 5 w 77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94">
                  <a:moveTo>
                    <a:pt x="5" y="94"/>
                  </a:moveTo>
                  <a:cubicBezTo>
                    <a:pt x="4" y="94"/>
                    <a:pt x="3" y="94"/>
                    <a:pt x="2" y="93"/>
                  </a:cubicBezTo>
                  <a:cubicBezTo>
                    <a:pt x="1" y="92"/>
                    <a:pt x="0" y="90"/>
                    <a:pt x="0" y="89"/>
                  </a:cubicBezTo>
                  <a:cubicBezTo>
                    <a:pt x="1" y="81"/>
                    <a:pt x="3" y="73"/>
                    <a:pt x="6" y="66"/>
                  </a:cubicBezTo>
                  <a:cubicBezTo>
                    <a:pt x="12" y="53"/>
                    <a:pt x="20" y="40"/>
                    <a:pt x="31" y="29"/>
                  </a:cubicBezTo>
                  <a:cubicBezTo>
                    <a:pt x="37" y="23"/>
                    <a:pt x="43" y="18"/>
                    <a:pt x="49" y="13"/>
                  </a:cubicBezTo>
                  <a:cubicBezTo>
                    <a:pt x="55" y="9"/>
                    <a:pt x="62" y="4"/>
                    <a:pt x="71" y="1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77" y="6"/>
                    <a:pt x="76" y="8"/>
                    <a:pt x="74" y="9"/>
                  </a:cubicBezTo>
                  <a:cubicBezTo>
                    <a:pt x="66" y="12"/>
                    <a:pt x="58" y="18"/>
                    <a:pt x="52" y="22"/>
                  </a:cubicBezTo>
                  <a:cubicBezTo>
                    <a:pt x="40" y="32"/>
                    <a:pt x="30" y="43"/>
                    <a:pt x="23" y="54"/>
                  </a:cubicBezTo>
                  <a:cubicBezTo>
                    <a:pt x="15" y="66"/>
                    <a:pt x="11" y="78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2"/>
                    <a:pt x="8" y="93"/>
                    <a:pt x="7" y="94"/>
                  </a:cubicBezTo>
                  <a:cubicBezTo>
                    <a:pt x="6" y="94"/>
                    <a:pt x="5" y="94"/>
                    <a:pt x="5" y="94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120">
              <a:extLst>
                <a:ext uri="{FF2B5EF4-FFF2-40B4-BE49-F238E27FC236}">
                  <a16:creationId xmlns:a16="http://schemas.microsoft.com/office/drawing/2014/main" id="{F9D39B4B-EF0A-423C-870C-4030DDEF2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2325" y="4446588"/>
              <a:ext cx="209550" cy="260350"/>
            </a:xfrm>
            <a:custGeom>
              <a:avLst/>
              <a:gdLst>
                <a:gd name="T0" fmla="*/ 2 w 70"/>
                <a:gd name="T1" fmla="*/ 86 h 87"/>
                <a:gd name="T2" fmla="*/ 16 w 70"/>
                <a:gd name="T3" fmla="*/ 48 h 87"/>
                <a:gd name="T4" fmla="*/ 47 w 70"/>
                <a:gd name="T5" fmla="*/ 16 h 87"/>
                <a:gd name="T6" fmla="*/ 69 w 70"/>
                <a:gd name="T7" fmla="*/ 2 h 87"/>
                <a:gd name="T8" fmla="*/ 69 w 70"/>
                <a:gd name="T9" fmla="*/ 0 h 87"/>
                <a:gd name="T10" fmla="*/ 48 w 70"/>
                <a:gd name="T11" fmla="*/ 12 h 87"/>
                <a:gd name="T12" fmla="*/ 31 w 70"/>
                <a:gd name="T13" fmla="*/ 27 h 87"/>
                <a:gd name="T14" fmla="*/ 6 w 70"/>
                <a:gd name="T15" fmla="*/ 63 h 87"/>
                <a:gd name="T16" fmla="*/ 1 w 70"/>
                <a:gd name="T17" fmla="*/ 85 h 87"/>
                <a:gd name="T18" fmla="*/ 2 w 70"/>
                <a:gd name="T19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87">
                  <a:moveTo>
                    <a:pt x="2" y="86"/>
                  </a:moveTo>
                  <a:cubicBezTo>
                    <a:pt x="4" y="72"/>
                    <a:pt x="9" y="60"/>
                    <a:pt x="16" y="48"/>
                  </a:cubicBezTo>
                  <a:cubicBezTo>
                    <a:pt x="24" y="36"/>
                    <a:pt x="35" y="25"/>
                    <a:pt x="47" y="16"/>
                  </a:cubicBezTo>
                  <a:cubicBezTo>
                    <a:pt x="54" y="10"/>
                    <a:pt x="61" y="5"/>
                    <a:pt x="69" y="2"/>
                  </a:cubicBezTo>
                  <a:cubicBezTo>
                    <a:pt x="70" y="1"/>
                    <a:pt x="70" y="0"/>
                    <a:pt x="69" y="0"/>
                  </a:cubicBezTo>
                  <a:cubicBezTo>
                    <a:pt x="61" y="3"/>
                    <a:pt x="55" y="7"/>
                    <a:pt x="48" y="12"/>
                  </a:cubicBezTo>
                  <a:cubicBezTo>
                    <a:pt x="42" y="17"/>
                    <a:pt x="36" y="22"/>
                    <a:pt x="31" y="27"/>
                  </a:cubicBezTo>
                  <a:cubicBezTo>
                    <a:pt x="21" y="38"/>
                    <a:pt x="12" y="50"/>
                    <a:pt x="6" y="63"/>
                  </a:cubicBezTo>
                  <a:cubicBezTo>
                    <a:pt x="4" y="70"/>
                    <a:pt x="2" y="78"/>
                    <a:pt x="1" y="85"/>
                  </a:cubicBezTo>
                  <a:cubicBezTo>
                    <a:pt x="0" y="87"/>
                    <a:pt x="2" y="87"/>
                    <a:pt x="2" y="86"/>
                  </a:cubicBezTo>
                  <a:close/>
                </a:path>
              </a:pathLst>
            </a:custGeom>
            <a:solidFill>
              <a:srgbClr val="C043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121">
              <a:extLst>
                <a:ext uri="{FF2B5EF4-FFF2-40B4-BE49-F238E27FC236}">
                  <a16:creationId xmlns:a16="http://schemas.microsoft.com/office/drawing/2014/main" id="{24E1F918-BED8-4D83-8BB2-99030C942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2800" y="4435475"/>
              <a:ext cx="230187" cy="280988"/>
            </a:xfrm>
            <a:custGeom>
              <a:avLst/>
              <a:gdLst>
                <a:gd name="T0" fmla="*/ 5 w 77"/>
                <a:gd name="T1" fmla="*/ 94 h 94"/>
                <a:gd name="T2" fmla="*/ 4 w 77"/>
                <a:gd name="T3" fmla="*/ 94 h 94"/>
                <a:gd name="T4" fmla="*/ 0 w 77"/>
                <a:gd name="T5" fmla="*/ 89 h 94"/>
                <a:gd name="T6" fmla="*/ 6 w 77"/>
                <a:gd name="T7" fmla="*/ 66 h 94"/>
                <a:gd name="T8" fmla="*/ 31 w 77"/>
                <a:gd name="T9" fmla="*/ 29 h 94"/>
                <a:gd name="T10" fmla="*/ 49 w 77"/>
                <a:gd name="T11" fmla="*/ 13 h 94"/>
                <a:gd name="T12" fmla="*/ 70 w 77"/>
                <a:gd name="T13" fmla="*/ 1 h 94"/>
                <a:gd name="T14" fmla="*/ 76 w 77"/>
                <a:gd name="T15" fmla="*/ 3 h 94"/>
                <a:gd name="T16" fmla="*/ 74 w 77"/>
                <a:gd name="T17" fmla="*/ 9 h 94"/>
                <a:gd name="T18" fmla="*/ 52 w 77"/>
                <a:gd name="T19" fmla="*/ 22 h 94"/>
                <a:gd name="T20" fmla="*/ 22 w 77"/>
                <a:gd name="T21" fmla="*/ 54 h 94"/>
                <a:gd name="T22" fmla="*/ 9 w 77"/>
                <a:gd name="T23" fmla="*/ 90 h 94"/>
                <a:gd name="T24" fmla="*/ 9 w 77"/>
                <a:gd name="T25" fmla="*/ 90 h 94"/>
                <a:gd name="T26" fmla="*/ 5 w 77"/>
                <a:gd name="T2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94">
                  <a:moveTo>
                    <a:pt x="5" y="94"/>
                  </a:moveTo>
                  <a:cubicBezTo>
                    <a:pt x="4" y="94"/>
                    <a:pt x="4" y="94"/>
                    <a:pt x="4" y="94"/>
                  </a:cubicBezTo>
                  <a:cubicBezTo>
                    <a:pt x="1" y="94"/>
                    <a:pt x="0" y="91"/>
                    <a:pt x="0" y="89"/>
                  </a:cubicBezTo>
                  <a:cubicBezTo>
                    <a:pt x="1" y="81"/>
                    <a:pt x="3" y="73"/>
                    <a:pt x="6" y="66"/>
                  </a:cubicBezTo>
                  <a:cubicBezTo>
                    <a:pt x="12" y="53"/>
                    <a:pt x="20" y="40"/>
                    <a:pt x="31" y="29"/>
                  </a:cubicBezTo>
                  <a:cubicBezTo>
                    <a:pt x="36" y="23"/>
                    <a:pt x="43" y="18"/>
                    <a:pt x="49" y="13"/>
                  </a:cubicBezTo>
                  <a:cubicBezTo>
                    <a:pt x="55" y="9"/>
                    <a:pt x="62" y="4"/>
                    <a:pt x="70" y="1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77" y="6"/>
                    <a:pt x="76" y="8"/>
                    <a:pt x="74" y="9"/>
                  </a:cubicBezTo>
                  <a:cubicBezTo>
                    <a:pt x="65" y="12"/>
                    <a:pt x="58" y="18"/>
                    <a:pt x="52" y="22"/>
                  </a:cubicBezTo>
                  <a:cubicBezTo>
                    <a:pt x="40" y="32"/>
                    <a:pt x="30" y="43"/>
                    <a:pt x="22" y="54"/>
                  </a:cubicBezTo>
                  <a:cubicBezTo>
                    <a:pt x="15" y="66"/>
                    <a:pt x="11" y="78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2"/>
                    <a:pt x="7" y="94"/>
                    <a:pt x="5" y="94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122">
              <a:extLst>
                <a:ext uri="{FF2B5EF4-FFF2-40B4-BE49-F238E27FC236}">
                  <a16:creationId xmlns:a16="http://schemas.microsoft.com/office/drawing/2014/main" id="{F60D6A1C-2F3C-43EE-9ADB-A2CB2EA8E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6050" y="5884863"/>
              <a:ext cx="801687" cy="704850"/>
            </a:xfrm>
            <a:custGeom>
              <a:avLst/>
              <a:gdLst>
                <a:gd name="T0" fmla="*/ 72 w 268"/>
                <a:gd name="T1" fmla="*/ 233 h 236"/>
                <a:gd name="T2" fmla="*/ 98 w 268"/>
                <a:gd name="T3" fmla="*/ 222 h 236"/>
                <a:gd name="T4" fmla="*/ 110 w 268"/>
                <a:gd name="T5" fmla="*/ 222 h 236"/>
                <a:gd name="T6" fmla="*/ 228 w 268"/>
                <a:gd name="T7" fmla="*/ 168 h 236"/>
                <a:gd name="T8" fmla="*/ 240 w 268"/>
                <a:gd name="T9" fmla="*/ 141 h 236"/>
                <a:gd name="T10" fmla="*/ 223 w 268"/>
                <a:gd name="T11" fmla="*/ 129 h 236"/>
                <a:gd name="T12" fmla="*/ 228 w 268"/>
                <a:gd name="T13" fmla="*/ 107 h 236"/>
                <a:gd name="T14" fmla="*/ 213 w 268"/>
                <a:gd name="T15" fmla="*/ 95 h 236"/>
                <a:gd name="T16" fmla="*/ 217 w 268"/>
                <a:gd name="T17" fmla="*/ 74 h 236"/>
                <a:gd name="T18" fmla="*/ 207 w 268"/>
                <a:gd name="T19" fmla="*/ 65 h 236"/>
                <a:gd name="T20" fmla="*/ 252 w 268"/>
                <a:gd name="T21" fmla="*/ 45 h 236"/>
                <a:gd name="T22" fmla="*/ 263 w 268"/>
                <a:gd name="T23" fmla="*/ 17 h 236"/>
                <a:gd name="T24" fmla="*/ 234 w 268"/>
                <a:gd name="T25" fmla="*/ 5 h 236"/>
                <a:gd name="T26" fmla="*/ 151 w 268"/>
                <a:gd name="T27" fmla="*/ 40 h 236"/>
                <a:gd name="T28" fmla="*/ 122 w 268"/>
                <a:gd name="T29" fmla="*/ 27 h 236"/>
                <a:gd name="T30" fmla="*/ 51 w 268"/>
                <a:gd name="T31" fmla="*/ 57 h 236"/>
                <a:gd name="T32" fmla="*/ 39 w 268"/>
                <a:gd name="T33" fmla="*/ 79 h 236"/>
                <a:gd name="T34" fmla="*/ 10 w 268"/>
                <a:gd name="T35" fmla="*/ 91 h 236"/>
                <a:gd name="T36" fmla="*/ 2 w 268"/>
                <a:gd name="T37" fmla="*/ 109 h 236"/>
                <a:gd name="T38" fmla="*/ 53 w 268"/>
                <a:gd name="T39" fmla="*/ 226 h 236"/>
                <a:gd name="T40" fmla="*/ 72 w 268"/>
                <a:gd name="T41" fmla="*/ 23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8" h="236">
                  <a:moveTo>
                    <a:pt x="72" y="233"/>
                  </a:moveTo>
                  <a:cubicBezTo>
                    <a:pt x="98" y="222"/>
                    <a:pt x="98" y="222"/>
                    <a:pt x="98" y="222"/>
                  </a:cubicBezTo>
                  <a:cubicBezTo>
                    <a:pt x="101" y="223"/>
                    <a:pt x="104" y="224"/>
                    <a:pt x="110" y="222"/>
                  </a:cubicBezTo>
                  <a:cubicBezTo>
                    <a:pt x="228" y="168"/>
                    <a:pt x="228" y="168"/>
                    <a:pt x="228" y="168"/>
                  </a:cubicBezTo>
                  <a:cubicBezTo>
                    <a:pt x="239" y="164"/>
                    <a:pt x="244" y="151"/>
                    <a:pt x="240" y="141"/>
                  </a:cubicBezTo>
                  <a:cubicBezTo>
                    <a:pt x="237" y="134"/>
                    <a:pt x="230" y="130"/>
                    <a:pt x="223" y="129"/>
                  </a:cubicBezTo>
                  <a:cubicBezTo>
                    <a:pt x="229" y="123"/>
                    <a:pt x="231" y="114"/>
                    <a:pt x="228" y="107"/>
                  </a:cubicBezTo>
                  <a:cubicBezTo>
                    <a:pt x="225" y="101"/>
                    <a:pt x="220" y="97"/>
                    <a:pt x="213" y="95"/>
                  </a:cubicBezTo>
                  <a:cubicBezTo>
                    <a:pt x="218" y="89"/>
                    <a:pt x="220" y="81"/>
                    <a:pt x="217" y="74"/>
                  </a:cubicBezTo>
                  <a:cubicBezTo>
                    <a:pt x="215" y="70"/>
                    <a:pt x="211" y="67"/>
                    <a:pt x="207" y="65"/>
                  </a:cubicBezTo>
                  <a:cubicBezTo>
                    <a:pt x="252" y="45"/>
                    <a:pt x="252" y="45"/>
                    <a:pt x="252" y="45"/>
                  </a:cubicBezTo>
                  <a:cubicBezTo>
                    <a:pt x="263" y="41"/>
                    <a:pt x="268" y="28"/>
                    <a:pt x="263" y="17"/>
                  </a:cubicBezTo>
                  <a:cubicBezTo>
                    <a:pt x="258" y="6"/>
                    <a:pt x="245" y="0"/>
                    <a:pt x="234" y="5"/>
                  </a:cubicBezTo>
                  <a:cubicBezTo>
                    <a:pt x="151" y="40"/>
                    <a:pt x="151" y="40"/>
                    <a:pt x="151" y="40"/>
                  </a:cubicBezTo>
                  <a:cubicBezTo>
                    <a:pt x="145" y="28"/>
                    <a:pt x="132" y="22"/>
                    <a:pt x="122" y="2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43" y="60"/>
                    <a:pt x="38" y="69"/>
                    <a:pt x="39" y="79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3" y="94"/>
                    <a:pt x="0" y="102"/>
                    <a:pt x="2" y="109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56" y="233"/>
                    <a:pt x="65" y="236"/>
                    <a:pt x="72" y="233"/>
                  </a:cubicBez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123">
              <a:extLst>
                <a:ext uri="{FF2B5EF4-FFF2-40B4-BE49-F238E27FC236}">
                  <a16:creationId xmlns:a16="http://schemas.microsoft.com/office/drawing/2014/main" id="{3F5B0149-89D0-4401-B4C4-2F9A0DA72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7438" y="6102350"/>
              <a:ext cx="592137" cy="646113"/>
            </a:xfrm>
            <a:custGeom>
              <a:avLst/>
              <a:gdLst>
                <a:gd name="T0" fmla="*/ 241 w 373"/>
                <a:gd name="T1" fmla="*/ 0 h 407"/>
                <a:gd name="T2" fmla="*/ 373 w 373"/>
                <a:gd name="T3" fmla="*/ 303 h 407"/>
                <a:gd name="T4" fmla="*/ 132 w 373"/>
                <a:gd name="T5" fmla="*/ 407 h 407"/>
                <a:gd name="T6" fmla="*/ 0 w 373"/>
                <a:gd name="T7" fmla="*/ 106 h 407"/>
                <a:gd name="T8" fmla="*/ 241 w 373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407">
                  <a:moveTo>
                    <a:pt x="241" y="0"/>
                  </a:moveTo>
                  <a:lnTo>
                    <a:pt x="373" y="303"/>
                  </a:lnTo>
                  <a:lnTo>
                    <a:pt x="132" y="407"/>
                  </a:lnTo>
                  <a:lnTo>
                    <a:pt x="0" y="106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124">
              <a:extLst>
                <a:ext uri="{FF2B5EF4-FFF2-40B4-BE49-F238E27FC236}">
                  <a16:creationId xmlns:a16="http://schemas.microsoft.com/office/drawing/2014/main" id="{1ECE591E-8875-460B-B791-73B927F87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5013" y="6096000"/>
              <a:ext cx="900112" cy="819150"/>
            </a:xfrm>
            <a:custGeom>
              <a:avLst/>
              <a:gdLst>
                <a:gd name="T0" fmla="*/ 422 w 567"/>
                <a:gd name="T1" fmla="*/ 0 h 516"/>
                <a:gd name="T2" fmla="*/ 567 w 567"/>
                <a:gd name="T3" fmla="*/ 334 h 516"/>
                <a:gd name="T4" fmla="*/ 145 w 567"/>
                <a:gd name="T5" fmla="*/ 516 h 516"/>
                <a:gd name="T6" fmla="*/ 0 w 567"/>
                <a:gd name="T7" fmla="*/ 185 h 516"/>
                <a:gd name="T8" fmla="*/ 422 w 567"/>
                <a:gd name="T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516">
                  <a:moveTo>
                    <a:pt x="422" y="0"/>
                  </a:moveTo>
                  <a:lnTo>
                    <a:pt x="567" y="334"/>
                  </a:lnTo>
                  <a:lnTo>
                    <a:pt x="145" y="516"/>
                  </a:lnTo>
                  <a:lnTo>
                    <a:pt x="0" y="185"/>
                  </a:lnTo>
                  <a:lnTo>
                    <a:pt x="422" y="0"/>
                  </a:ln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7365CC58-DECB-4668-87BB-700010C0AA7F}"/>
              </a:ext>
            </a:extLst>
          </p:cNvPr>
          <p:cNvGrpSpPr/>
          <p:nvPr/>
        </p:nvGrpSpPr>
        <p:grpSpPr>
          <a:xfrm>
            <a:off x="7385747" y="3041463"/>
            <a:ext cx="1044769" cy="996417"/>
            <a:chOff x="7899400" y="5768975"/>
            <a:chExt cx="2709863" cy="2584450"/>
          </a:xfrm>
        </p:grpSpPr>
        <p:sp>
          <p:nvSpPr>
            <p:cNvPr id="219" name="Freeform 128">
              <a:extLst>
                <a:ext uri="{FF2B5EF4-FFF2-40B4-BE49-F238E27FC236}">
                  <a16:creationId xmlns:a16="http://schemas.microsoft.com/office/drawing/2014/main" id="{1F952255-99E0-4DA0-B292-099D618B2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400" y="5768975"/>
              <a:ext cx="2587625" cy="2584450"/>
            </a:xfrm>
            <a:custGeom>
              <a:avLst/>
              <a:gdLst>
                <a:gd name="T0" fmla="*/ 864 w 865"/>
                <a:gd name="T1" fmla="*/ 435 h 865"/>
                <a:gd name="T2" fmla="*/ 431 w 865"/>
                <a:gd name="T3" fmla="*/ 864 h 865"/>
                <a:gd name="T4" fmla="*/ 1 w 865"/>
                <a:gd name="T5" fmla="*/ 431 h 865"/>
                <a:gd name="T6" fmla="*/ 435 w 865"/>
                <a:gd name="T7" fmla="*/ 1 h 865"/>
                <a:gd name="T8" fmla="*/ 864 w 865"/>
                <a:gd name="T9" fmla="*/ 435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5" h="865">
                  <a:moveTo>
                    <a:pt x="864" y="435"/>
                  </a:moveTo>
                  <a:cubicBezTo>
                    <a:pt x="863" y="673"/>
                    <a:pt x="669" y="865"/>
                    <a:pt x="431" y="864"/>
                  </a:cubicBezTo>
                  <a:cubicBezTo>
                    <a:pt x="193" y="863"/>
                    <a:pt x="0" y="669"/>
                    <a:pt x="1" y="431"/>
                  </a:cubicBezTo>
                  <a:cubicBezTo>
                    <a:pt x="2" y="193"/>
                    <a:pt x="196" y="0"/>
                    <a:pt x="435" y="1"/>
                  </a:cubicBezTo>
                  <a:cubicBezTo>
                    <a:pt x="673" y="2"/>
                    <a:pt x="865" y="196"/>
                    <a:pt x="864" y="435"/>
                  </a:cubicBezTo>
                  <a:close/>
                </a:path>
              </a:pathLst>
            </a:custGeom>
            <a:solidFill>
              <a:srgbClr val="60A2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129">
              <a:extLst>
                <a:ext uri="{FF2B5EF4-FFF2-40B4-BE49-F238E27FC236}">
                  <a16:creationId xmlns:a16="http://schemas.microsoft.com/office/drawing/2014/main" id="{AE9F42CD-57D5-477C-A5D3-83F0292FA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675" y="6432550"/>
              <a:ext cx="1482725" cy="1477963"/>
            </a:xfrm>
            <a:custGeom>
              <a:avLst/>
              <a:gdLst>
                <a:gd name="T0" fmla="*/ 472 w 496"/>
                <a:gd name="T1" fmla="*/ 238 h 495"/>
                <a:gd name="T2" fmla="*/ 467 w 496"/>
                <a:gd name="T3" fmla="*/ 198 h 495"/>
                <a:gd name="T4" fmla="*/ 453 w 496"/>
                <a:gd name="T5" fmla="*/ 158 h 495"/>
                <a:gd name="T6" fmla="*/ 434 w 496"/>
                <a:gd name="T7" fmla="*/ 122 h 495"/>
                <a:gd name="T8" fmla="*/ 407 w 496"/>
                <a:gd name="T9" fmla="*/ 90 h 495"/>
                <a:gd name="T10" fmla="*/ 376 w 496"/>
                <a:gd name="T11" fmla="*/ 63 h 495"/>
                <a:gd name="T12" fmla="*/ 339 w 496"/>
                <a:gd name="T13" fmla="*/ 43 h 495"/>
                <a:gd name="T14" fmla="*/ 301 w 496"/>
                <a:gd name="T15" fmla="*/ 29 h 495"/>
                <a:gd name="T16" fmla="*/ 259 w 496"/>
                <a:gd name="T17" fmla="*/ 24 h 495"/>
                <a:gd name="T18" fmla="*/ 218 w 496"/>
                <a:gd name="T19" fmla="*/ 25 h 495"/>
                <a:gd name="T20" fmla="*/ 177 w 496"/>
                <a:gd name="T21" fmla="*/ 35 h 495"/>
                <a:gd name="T22" fmla="*/ 140 w 496"/>
                <a:gd name="T23" fmla="*/ 50 h 495"/>
                <a:gd name="T24" fmla="*/ 105 w 496"/>
                <a:gd name="T25" fmla="*/ 75 h 495"/>
                <a:gd name="T26" fmla="*/ 76 w 496"/>
                <a:gd name="T27" fmla="*/ 102 h 495"/>
                <a:gd name="T28" fmla="*/ 52 w 496"/>
                <a:gd name="T29" fmla="*/ 138 h 495"/>
                <a:gd name="T30" fmla="*/ 35 w 496"/>
                <a:gd name="T31" fmla="*/ 174 h 495"/>
                <a:gd name="T32" fmla="*/ 26 w 496"/>
                <a:gd name="T33" fmla="*/ 216 h 495"/>
                <a:gd name="T34" fmla="*/ 23 w 496"/>
                <a:gd name="T35" fmla="*/ 256 h 495"/>
                <a:gd name="T36" fmla="*/ 29 w 496"/>
                <a:gd name="T37" fmla="*/ 298 h 495"/>
                <a:gd name="T38" fmla="*/ 41 w 496"/>
                <a:gd name="T39" fmla="*/ 337 h 495"/>
                <a:gd name="T40" fmla="*/ 51 w 496"/>
                <a:gd name="T41" fmla="*/ 350 h 495"/>
                <a:gd name="T42" fmla="*/ 155 w 496"/>
                <a:gd name="T43" fmla="*/ 452 h 495"/>
                <a:gd name="T44" fmla="*/ 195 w 496"/>
                <a:gd name="T45" fmla="*/ 466 h 495"/>
                <a:gd name="T46" fmla="*/ 235 w 496"/>
                <a:gd name="T47" fmla="*/ 471 h 495"/>
                <a:gd name="T48" fmla="*/ 278 w 496"/>
                <a:gd name="T49" fmla="*/ 470 h 495"/>
                <a:gd name="T50" fmla="*/ 317 w 496"/>
                <a:gd name="T51" fmla="*/ 460 h 495"/>
                <a:gd name="T52" fmla="*/ 356 w 496"/>
                <a:gd name="T53" fmla="*/ 444 h 495"/>
                <a:gd name="T54" fmla="*/ 389 w 496"/>
                <a:gd name="T55" fmla="*/ 421 h 495"/>
                <a:gd name="T56" fmla="*/ 420 w 496"/>
                <a:gd name="T57" fmla="*/ 392 h 495"/>
                <a:gd name="T58" fmla="*/ 442 w 496"/>
                <a:gd name="T59" fmla="*/ 358 h 495"/>
                <a:gd name="T60" fmla="*/ 461 w 496"/>
                <a:gd name="T61" fmla="*/ 320 h 495"/>
                <a:gd name="T62" fmla="*/ 469 w 496"/>
                <a:gd name="T63" fmla="*/ 280 h 495"/>
                <a:gd name="T64" fmla="*/ 472 w 496"/>
                <a:gd name="T65" fmla="*/ 238 h 495"/>
                <a:gd name="T66" fmla="*/ 91 w 496"/>
                <a:gd name="T67" fmla="*/ 248 h 495"/>
                <a:gd name="T68" fmla="*/ 406 w 496"/>
                <a:gd name="T69" fmla="*/ 2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6" h="495">
                  <a:moveTo>
                    <a:pt x="472" y="238"/>
                  </a:moveTo>
                  <a:cubicBezTo>
                    <a:pt x="472" y="238"/>
                    <a:pt x="472" y="238"/>
                    <a:pt x="472" y="238"/>
                  </a:cubicBezTo>
                  <a:cubicBezTo>
                    <a:pt x="452" y="233"/>
                    <a:pt x="449" y="207"/>
                    <a:pt x="466" y="198"/>
                  </a:cubicBezTo>
                  <a:cubicBezTo>
                    <a:pt x="467" y="198"/>
                    <a:pt x="467" y="198"/>
                    <a:pt x="467" y="198"/>
                  </a:cubicBezTo>
                  <a:cubicBezTo>
                    <a:pt x="488" y="186"/>
                    <a:pt x="477" y="154"/>
                    <a:pt x="454" y="158"/>
                  </a:cubicBezTo>
                  <a:cubicBezTo>
                    <a:pt x="453" y="158"/>
                    <a:pt x="453" y="158"/>
                    <a:pt x="453" y="158"/>
                  </a:cubicBezTo>
                  <a:cubicBezTo>
                    <a:pt x="433" y="160"/>
                    <a:pt x="421" y="138"/>
                    <a:pt x="434" y="122"/>
                  </a:cubicBezTo>
                  <a:cubicBezTo>
                    <a:pt x="434" y="122"/>
                    <a:pt x="434" y="122"/>
                    <a:pt x="434" y="122"/>
                  </a:cubicBezTo>
                  <a:cubicBezTo>
                    <a:pt x="450" y="104"/>
                    <a:pt x="428" y="78"/>
                    <a:pt x="407" y="89"/>
                  </a:cubicBezTo>
                  <a:cubicBezTo>
                    <a:pt x="407" y="90"/>
                    <a:pt x="407" y="90"/>
                    <a:pt x="407" y="90"/>
                  </a:cubicBezTo>
                  <a:cubicBezTo>
                    <a:pt x="389" y="99"/>
                    <a:pt x="369" y="82"/>
                    <a:pt x="376" y="64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84" y="40"/>
                    <a:pt x="355" y="24"/>
                    <a:pt x="339" y="42"/>
                  </a:cubicBezTo>
                  <a:cubicBezTo>
                    <a:pt x="339" y="43"/>
                    <a:pt x="339" y="43"/>
                    <a:pt x="339" y="43"/>
                  </a:cubicBezTo>
                  <a:cubicBezTo>
                    <a:pt x="326" y="58"/>
                    <a:pt x="302" y="50"/>
                    <a:pt x="301" y="30"/>
                  </a:cubicBezTo>
                  <a:cubicBezTo>
                    <a:pt x="301" y="29"/>
                    <a:pt x="301" y="29"/>
                    <a:pt x="301" y="29"/>
                  </a:cubicBezTo>
                  <a:cubicBezTo>
                    <a:pt x="300" y="5"/>
                    <a:pt x="267" y="0"/>
                    <a:pt x="259" y="23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3" y="42"/>
                    <a:pt x="227" y="43"/>
                    <a:pt x="219" y="25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09" y="3"/>
                    <a:pt x="176" y="10"/>
                    <a:pt x="177" y="34"/>
                  </a:cubicBezTo>
                  <a:cubicBezTo>
                    <a:pt x="177" y="35"/>
                    <a:pt x="177" y="35"/>
                    <a:pt x="177" y="35"/>
                  </a:cubicBezTo>
                  <a:cubicBezTo>
                    <a:pt x="178" y="55"/>
                    <a:pt x="154" y="65"/>
                    <a:pt x="140" y="51"/>
                  </a:cubicBezTo>
                  <a:cubicBezTo>
                    <a:pt x="140" y="50"/>
                    <a:pt x="140" y="50"/>
                    <a:pt x="140" y="50"/>
                  </a:cubicBezTo>
                  <a:cubicBezTo>
                    <a:pt x="123" y="33"/>
                    <a:pt x="95" y="52"/>
                    <a:pt x="105" y="74"/>
                  </a:cubicBezTo>
                  <a:cubicBezTo>
                    <a:pt x="105" y="75"/>
                    <a:pt x="105" y="75"/>
                    <a:pt x="105" y="75"/>
                  </a:cubicBezTo>
                  <a:cubicBezTo>
                    <a:pt x="113" y="93"/>
                    <a:pt x="95" y="111"/>
                    <a:pt x="77" y="103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54" y="93"/>
                    <a:pt x="35" y="120"/>
                    <a:pt x="52" y="137"/>
                  </a:cubicBezTo>
                  <a:cubicBezTo>
                    <a:pt x="52" y="138"/>
                    <a:pt x="52" y="138"/>
                    <a:pt x="52" y="138"/>
                  </a:cubicBezTo>
                  <a:cubicBezTo>
                    <a:pt x="66" y="152"/>
                    <a:pt x="56" y="176"/>
                    <a:pt x="36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11" y="173"/>
                    <a:pt x="3" y="206"/>
                    <a:pt x="25" y="215"/>
                  </a:cubicBezTo>
                  <a:cubicBezTo>
                    <a:pt x="26" y="216"/>
                    <a:pt x="26" y="216"/>
                    <a:pt x="26" y="216"/>
                  </a:cubicBezTo>
                  <a:cubicBezTo>
                    <a:pt x="44" y="224"/>
                    <a:pt x="43" y="250"/>
                    <a:pt x="24" y="256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0" y="263"/>
                    <a:pt x="5" y="297"/>
                    <a:pt x="29" y="298"/>
                  </a:cubicBezTo>
                  <a:cubicBezTo>
                    <a:pt x="29" y="298"/>
                    <a:pt x="29" y="298"/>
                    <a:pt x="29" y="298"/>
                  </a:cubicBezTo>
                  <a:cubicBezTo>
                    <a:pt x="49" y="299"/>
                    <a:pt x="57" y="324"/>
                    <a:pt x="42" y="336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36" y="341"/>
                    <a:pt x="34" y="346"/>
                    <a:pt x="33" y="352"/>
                  </a:cubicBezTo>
                  <a:cubicBezTo>
                    <a:pt x="39" y="350"/>
                    <a:pt x="45" y="350"/>
                    <a:pt x="51" y="350"/>
                  </a:cubicBezTo>
                  <a:cubicBezTo>
                    <a:pt x="95" y="350"/>
                    <a:pt x="128" y="384"/>
                    <a:pt x="133" y="427"/>
                  </a:cubicBezTo>
                  <a:cubicBezTo>
                    <a:pt x="145" y="426"/>
                    <a:pt x="158" y="437"/>
                    <a:pt x="155" y="452"/>
                  </a:cubicBezTo>
                  <a:cubicBezTo>
                    <a:pt x="155" y="452"/>
                    <a:pt x="155" y="452"/>
                    <a:pt x="155" y="452"/>
                  </a:cubicBezTo>
                  <a:cubicBezTo>
                    <a:pt x="152" y="476"/>
                    <a:pt x="184" y="487"/>
                    <a:pt x="195" y="466"/>
                  </a:cubicBezTo>
                  <a:cubicBezTo>
                    <a:pt x="196" y="465"/>
                    <a:pt x="196" y="465"/>
                    <a:pt x="196" y="465"/>
                  </a:cubicBezTo>
                  <a:cubicBezTo>
                    <a:pt x="205" y="448"/>
                    <a:pt x="231" y="452"/>
                    <a:pt x="235" y="471"/>
                  </a:cubicBezTo>
                  <a:cubicBezTo>
                    <a:pt x="236" y="472"/>
                    <a:pt x="236" y="472"/>
                    <a:pt x="236" y="472"/>
                  </a:cubicBezTo>
                  <a:cubicBezTo>
                    <a:pt x="241" y="495"/>
                    <a:pt x="274" y="494"/>
                    <a:pt x="278" y="470"/>
                  </a:cubicBezTo>
                  <a:cubicBezTo>
                    <a:pt x="278" y="469"/>
                    <a:pt x="278" y="469"/>
                    <a:pt x="278" y="469"/>
                  </a:cubicBezTo>
                  <a:cubicBezTo>
                    <a:pt x="281" y="450"/>
                    <a:pt x="306" y="444"/>
                    <a:pt x="317" y="460"/>
                  </a:cubicBezTo>
                  <a:cubicBezTo>
                    <a:pt x="317" y="461"/>
                    <a:pt x="317" y="461"/>
                    <a:pt x="317" y="461"/>
                  </a:cubicBezTo>
                  <a:cubicBezTo>
                    <a:pt x="331" y="481"/>
                    <a:pt x="362" y="468"/>
                    <a:pt x="356" y="444"/>
                  </a:cubicBezTo>
                  <a:cubicBezTo>
                    <a:pt x="356" y="444"/>
                    <a:pt x="356" y="444"/>
                    <a:pt x="356" y="444"/>
                  </a:cubicBezTo>
                  <a:cubicBezTo>
                    <a:pt x="352" y="424"/>
                    <a:pt x="373" y="410"/>
                    <a:pt x="389" y="421"/>
                  </a:cubicBezTo>
                  <a:cubicBezTo>
                    <a:pt x="390" y="421"/>
                    <a:pt x="390" y="421"/>
                    <a:pt x="390" y="421"/>
                  </a:cubicBezTo>
                  <a:cubicBezTo>
                    <a:pt x="410" y="435"/>
                    <a:pt x="434" y="412"/>
                    <a:pt x="420" y="392"/>
                  </a:cubicBezTo>
                  <a:cubicBezTo>
                    <a:pt x="420" y="391"/>
                    <a:pt x="420" y="391"/>
                    <a:pt x="420" y="391"/>
                  </a:cubicBezTo>
                  <a:cubicBezTo>
                    <a:pt x="408" y="375"/>
                    <a:pt x="423" y="353"/>
                    <a:pt x="442" y="358"/>
                  </a:cubicBezTo>
                  <a:cubicBezTo>
                    <a:pt x="443" y="358"/>
                    <a:pt x="443" y="358"/>
                    <a:pt x="443" y="358"/>
                  </a:cubicBezTo>
                  <a:cubicBezTo>
                    <a:pt x="466" y="364"/>
                    <a:pt x="480" y="333"/>
                    <a:pt x="461" y="320"/>
                  </a:cubicBezTo>
                  <a:cubicBezTo>
                    <a:pt x="460" y="319"/>
                    <a:pt x="460" y="319"/>
                    <a:pt x="460" y="319"/>
                  </a:cubicBezTo>
                  <a:cubicBezTo>
                    <a:pt x="444" y="308"/>
                    <a:pt x="450" y="283"/>
                    <a:pt x="469" y="280"/>
                  </a:cubicBezTo>
                  <a:cubicBezTo>
                    <a:pt x="470" y="280"/>
                    <a:pt x="470" y="280"/>
                    <a:pt x="470" y="280"/>
                  </a:cubicBezTo>
                  <a:cubicBezTo>
                    <a:pt x="494" y="277"/>
                    <a:pt x="496" y="244"/>
                    <a:pt x="472" y="238"/>
                  </a:cubicBezTo>
                  <a:close/>
                  <a:moveTo>
                    <a:pt x="249" y="406"/>
                  </a:moveTo>
                  <a:cubicBezTo>
                    <a:pt x="162" y="406"/>
                    <a:pt x="91" y="335"/>
                    <a:pt x="91" y="248"/>
                  </a:cubicBezTo>
                  <a:cubicBezTo>
                    <a:pt x="91" y="161"/>
                    <a:pt x="162" y="91"/>
                    <a:pt x="249" y="91"/>
                  </a:cubicBezTo>
                  <a:cubicBezTo>
                    <a:pt x="336" y="91"/>
                    <a:pt x="406" y="161"/>
                    <a:pt x="406" y="248"/>
                  </a:cubicBezTo>
                  <a:cubicBezTo>
                    <a:pt x="406" y="335"/>
                    <a:pt x="336" y="406"/>
                    <a:pt x="249" y="406"/>
                  </a:cubicBezTo>
                  <a:close/>
                </a:path>
              </a:pathLst>
            </a:custGeom>
            <a:solidFill>
              <a:srgbClr val="EBCB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130">
              <a:extLst>
                <a:ext uri="{FF2B5EF4-FFF2-40B4-BE49-F238E27FC236}">
                  <a16:creationId xmlns:a16="http://schemas.microsoft.com/office/drawing/2014/main" id="{4DF62AAA-65C1-440C-866C-824923850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4050" y="6423025"/>
              <a:ext cx="1498600" cy="1497013"/>
            </a:xfrm>
            <a:custGeom>
              <a:avLst/>
              <a:gdLst>
                <a:gd name="T0" fmla="*/ 477 w 501"/>
                <a:gd name="T1" fmla="*/ 241 h 501"/>
                <a:gd name="T2" fmla="*/ 472 w 501"/>
                <a:gd name="T3" fmla="*/ 200 h 501"/>
                <a:gd name="T4" fmla="*/ 458 w 501"/>
                <a:gd name="T5" fmla="*/ 160 h 501"/>
                <a:gd name="T6" fmla="*/ 439 w 501"/>
                <a:gd name="T7" fmla="*/ 123 h 501"/>
                <a:gd name="T8" fmla="*/ 411 w 501"/>
                <a:gd name="T9" fmla="*/ 91 h 501"/>
                <a:gd name="T10" fmla="*/ 380 w 501"/>
                <a:gd name="T11" fmla="*/ 64 h 501"/>
                <a:gd name="T12" fmla="*/ 342 w 501"/>
                <a:gd name="T13" fmla="*/ 43 h 501"/>
                <a:gd name="T14" fmla="*/ 304 w 501"/>
                <a:gd name="T15" fmla="*/ 29 h 501"/>
                <a:gd name="T16" fmla="*/ 261 w 501"/>
                <a:gd name="T17" fmla="*/ 24 h 501"/>
                <a:gd name="T18" fmla="*/ 220 w 501"/>
                <a:gd name="T19" fmla="*/ 25 h 501"/>
                <a:gd name="T20" fmla="*/ 179 w 501"/>
                <a:gd name="T21" fmla="*/ 35 h 501"/>
                <a:gd name="T22" fmla="*/ 141 w 501"/>
                <a:gd name="T23" fmla="*/ 51 h 501"/>
                <a:gd name="T24" fmla="*/ 106 w 501"/>
                <a:gd name="T25" fmla="*/ 75 h 501"/>
                <a:gd name="T26" fmla="*/ 76 w 501"/>
                <a:gd name="T27" fmla="*/ 104 h 501"/>
                <a:gd name="T28" fmla="*/ 52 w 501"/>
                <a:gd name="T29" fmla="*/ 139 h 501"/>
                <a:gd name="T30" fmla="*/ 35 w 501"/>
                <a:gd name="T31" fmla="*/ 176 h 501"/>
                <a:gd name="T32" fmla="*/ 25 w 501"/>
                <a:gd name="T33" fmla="*/ 218 h 501"/>
                <a:gd name="T34" fmla="*/ 23 w 501"/>
                <a:gd name="T35" fmla="*/ 259 h 501"/>
                <a:gd name="T36" fmla="*/ 29 w 501"/>
                <a:gd name="T37" fmla="*/ 302 h 501"/>
                <a:gd name="T38" fmla="*/ 41 w 501"/>
                <a:gd name="T39" fmla="*/ 341 h 501"/>
                <a:gd name="T40" fmla="*/ 62 w 501"/>
                <a:gd name="T41" fmla="*/ 378 h 501"/>
                <a:gd name="T42" fmla="*/ 88 w 501"/>
                <a:gd name="T43" fmla="*/ 410 h 501"/>
                <a:gd name="T44" fmla="*/ 121 w 501"/>
                <a:gd name="T45" fmla="*/ 437 h 501"/>
                <a:gd name="T46" fmla="*/ 156 w 501"/>
                <a:gd name="T47" fmla="*/ 458 h 501"/>
                <a:gd name="T48" fmla="*/ 197 w 501"/>
                <a:gd name="T49" fmla="*/ 471 h 501"/>
                <a:gd name="T50" fmla="*/ 238 w 501"/>
                <a:gd name="T51" fmla="*/ 478 h 501"/>
                <a:gd name="T52" fmla="*/ 281 w 501"/>
                <a:gd name="T53" fmla="*/ 475 h 501"/>
                <a:gd name="T54" fmla="*/ 321 w 501"/>
                <a:gd name="T55" fmla="*/ 467 h 501"/>
                <a:gd name="T56" fmla="*/ 360 w 501"/>
                <a:gd name="T57" fmla="*/ 449 h 501"/>
                <a:gd name="T58" fmla="*/ 394 w 501"/>
                <a:gd name="T59" fmla="*/ 427 h 501"/>
                <a:gd name="T60" fmla="*/ 424 w 501"/>
                <a:gd name="T61" fmla="*/ 396 h 501"/>
                <a:gd name="T62" fmla="*/ 448 w 501"/>
                <a:gd name="T63" fmla="*/ 363 h 501"/>
                <a:gd name="T64" fmla="*/ 465 w 501"/>
                <a:gd name="T65" fmla="*/ 323 h 501"/>
                <a:gd name="T66" fmla="*/ 475 w 501"/>
                <a:gd name="T67" fmla="*/ 284 h 501"/>
                <a:gd name="T68" fmla="*/ 251 w 501"/>
                <a:gd name="T69" fmla="*/ 411 h 501"/>
                <a:gd name="T70" fmla="*/ 251 w 501"/>
                <a:gd name="T71" fmla="*/ 92 h 501"/>
                <a:gd name="T72" fmla="*/ 251 w 501"/>
                <a:gd name="T73" fmla="*/ 41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1" h="501">
                  <a:moveTo>
                    <a:pt x="477" y="241"/>
                  </a:moveTo>
                  <a:cubicBezTo>
                    <a:pt x="477" y="241"/>
                    <a:pt x="477" y="241"/>
                    <a:pt x="477" y="241"/>
                  </a:cubicBezTo>
                  <a:cubicBezTo>
                    <a:pt x="457" y="236"/>
                    <a:pt x="454" y="210"/>
                    <a:pt x="471" y="200"/>
                  </a:cubicBezTo>
                  <a:cubicBezTo>
                    <a:pt x="472" y="200"/>
                    <a:pt x="472" y="200"/>
                    <a:pt x="472" y="200"/>
                  </a:cubicBezTo>
                  <a:cubicBezTo>
                    <a:pt x="493" y="189"/>
                    <a:pt x="483" y="156"/>
                    <a:pt x="459" y="159"/>
                  </a:cubicBezTo>
                  <a:cubicBezTo>
                    <a:pt x="458" y="160"/>
                    <a:pt x="458" y="160"/>
                    <a:pt x="458" y="160"/>
                  </a:cubicBezTo>
                  <a:cubicBezTo>
                    <a:pt x="438" y="162"/>
                    <a:pt x="425" y="139"/>
                    <a:pt x="438" y="124"/>
                  </a:cubicBezTo>
                  <a:cubicBezTo>
                    <a:pt x="439" y="123"/>
                    <a:pt x="439" y="123"/>
                    <a:pt x="439" y="123"/>
                  </a:cubicBezTo>
                  <a:cubicBezTo>
                    <a:pt x="454" y="105"/>
                    <a:pt x="433" y="78"/>
                    <a:pt x="412" y="90"/>
                  </a:cubicBezTo>
                  <a:cubicBezTo>
                    <a:pt x="411" y="91"/>
                    <a:pt x="411" y="91"/>
                    <a:pt x="411" y="91"/>
                  </a:cubicBezTo>
                  <a:cubicBezTo>
                    <a:pt x="393" y="100"/>
                    <a:pt x="373" y="83"/>
                    <a:pt x="380" y="64"/>
                  </a:cubicBezTo>
                  <a:cubicBezTo>
                    <a:pt x="380" y="64"/>
                    <a:pt x="380" y="64"/>
                    <a:pt x="380" y="64"/>
                  </a:cubicBezTo>
                  <a:cubicBezTo>
                    <a:pt x="388" y="41"/>
                    <a:pt x="358" y="24"/>
                    <a:pt x="343" y="43"/>
                  </a:cubicBezTo>
                  <a:cubicBezTo>
                    <a:pt x="342" y="43"/>
                    <a:pt x="342" y="43"/>
                    <a:pt x="342" y="43"/>
                  </a:cubicBezTo>
                  <a:cubicBezTo>
                    <a:pt x="330" y="59"/>
                    <a:pt x="305" y="50"/>
                    <a:pt x="304" y="30"/>
                  </a:cubicBezTo>
                  <a:cubicBezTo>
                    <a:pt x="304" y="29"/>
                    <a:pt x="304" y="29"/>
                    <a:pt x="304" y="29"/>
                  </a:cubicBezTo>
                  <a:cubicBezTo>
                    <a:pt x="303" y="5"/>
                    <a:pt x="269" y="0"/>
                    <a:pt x="261" y="23"/>
                  </a:cubicBezTo>
                  <a:cubicBezTo>
                    <a:pt x="261" y="24"/>
                    <a:pt x="261" y="24"/>
                    <a:pt x="261" y="24"/>
                  </a:cubicBezTo>
                  <a:cubicBezTo>
                    <a:pt x="255" y="43"/>
                    <a:pt x="228" y="44"/>
                    <a:pt x="221" y="26"/>
                  </a:cubicBezTo>
                  <a:cubicBezTo>
                    <a:pt x="220" y="25"/>
                    <a:pt x="220" y="25"/>
                    <a:pt x="220" y="25"/>
                  </a:cubicBezTo>
                  <a:cubicBezTo>
                    <a:pt x="211" y="3"/>
                    <a:pt x="178" y="10"/>
                    <a:pt x="179" y="34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80" y="55"/>
                    <a:pt x="155" y="66"/>
                    <a:pt x="141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24" y="33"/>
                    <a:pt x="96" y="53"/>
                    <a:pt x="105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14" y="94"/>
                    <a:pt x="95" y="112"/>
                    <a:pt x="77" y="104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54" y="94"/>
                    <a:pt x="35" y="122"/>
                    <a:pt x="52" y="139"/>
                  </a:cubicBezTo>
                  <a:cubicBezTo>
                    <a:pt x="52" y="139"/>
                    <a:pt x="52" y="139"/>
                    <a:pt x="52" y="139"/>
                  </a:cubicBezTo>
                  <a:cubicBezTo>
                    <a:pt x="66" y="154"/>
                    <a:pt x="56" y="178"/>
                    <a:pt x="36" y="176"/>
                  </a:cubicBezTo>
                  <a:cubicBezTo>
                    <a:pt x="35" y="176"/>
                    <a:pt x="35" y="176"/>
                    <a:pt x="35" y="176"/>
                  </a:cubicBezTo>
                  <a:cubicBezTo>
                    <a:pt x="11" y="175"/>
                    <a:pt x="3" y="208"/>
                    <a:pt x="25" y="218"/>
                  </a:cubicBezTo>
                  <a:cubicBezTo>
                    <a:pt x="25" y="218"/>
                    <a:pt x="25" y="218"/>
                    <a:pt x="25" y="218"/>
                  </a:cubicBezTo>
                  <a:cubicBezTo>
                    <a:pt x="44" y="226"/>
                    <a:pt x="42" y="253"/>
                    <a:pt x="23" y="259"/>
                  </a:cubicBezTo>
                  <a:cubicBezTo>
                    <a:pt x="23" y="259"/>
                    <a:pt x="23" y="259"/>
                    <a:pt x="23" y="259"/>
                  </a:cubicBezTo>
                  <a:cubicBezTo>
                    <a:pt x="0" y="267"/>
                    <a:pt x="4" y="300"/>
                    <a:pt x="28" y="302"/>
                  </a:cubicBezTo>
                  <a:cubicBezTo>
                    <a:pt x="29" y="302"/>
                    <a:pt x="29" y="302"/>
                    <a:pt x="29" y="302"/>
                  </a:cubicBezTo>
                  <a:cubicBezTo>
                    <a:pt x="49" y="302"/>
                    <a:pt x="57" y="328"/>
                    <a:pt x="42" y="340"/>
                  </a:cubicBezTo>
                  <a:cubicBezTo>
                    <a:pt x="41" y="341"/>
                    <a:pt x="41" y="341"/>
                    <a:pt x="41" y="341"/>
                  </a:cubicBezTo>
                  <a:cubicBezTo>
                    <a:pt x="22" y="356"/>
                    <a:pt x="39" y="386"/>
                    <a:pt x="62" y="378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81" y="372"/>
                    <a:pt x="98" y="392"/>
                    <a:pt x="88" y="409"/>
                  </a:cubicBezTo>
                  <a:cubicBezTo>
                    <a:pt x="88" y="410"/>
                    <a:pt x="88" y="410"/>
                    <a:pt x="88" y="410"/>
                  </a:cubicBezTo>
                  <a:cubicBezTo>
                    <a:pt x="76" y="431"/>
                    <a:pt x="102" y="453"/>
                    <a:pt x="121" y="438"/>
                  </a:cubicBezTo>
                  <a:cubicBezTo>
                    <a:pt x="121" y="437"/>
                    <a:pt x="121" y="437"/>
                    <a:pt x="121" y="437"/>
                  </a:cubicBezTo>
                  <a:cubicBezTo>
                    <a:pt x="137" y="424"/>
                    <a:pt x="160" y="437"/>
                    <a:pt x="157" y="457"/>
                  </a:cubicBezTo>
                  <a:cubicBezTo>
                    <a:pt x="156" y="458"/>
                    <a:pt x="156" y="458"/>
                    <a:pt x="156" y="458"/>
                  </a:cubicBezTo>
                  <a:cubicBezTo>
                    <a:pt x="153" y="482"/>
                    <a:pt x="185" y="493"/>
                    <a:pt x="197" y="472"/>
                  </a:cubicBezTo>
                  <a:cubicBezTo>
                    <a:pt x="197" y="471"/>
                    <a:pt x="197" y="471"/>
                    <a:pt x="197" y="471"/>
                  </a:cubicBezTo>
                  <a:cubicBezTo>
                    <a:pt x="207" y="454"/>
                    <a:pt x="233" y="457"/>
                    <a:pt x="237" y="477"/>
                  </a:cubicBezTo>
                  <a:cubicBezTo>
                    <a:pt x="238" y="478"/>
                    <a:pt x="238" y="478"/>
                    <a:pt x="238" y="478"/>
                  </a:cubicBezTo>
                  <a:cubicBezTo>
                    <a:pt x="243" y="501"/>
                    <a:pt x="277" y="500"/>
                    <a:pt x="280" y="476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3" y="455"/>
                    <a:pt x="309" y="449"/>
                    <a:pt x="320" y="466"/>
                  </a:cubicBezTo>
                  <a:cubicBezTo>
                    <a:pt x="321" y="467"/>
                    <a:pt x="321" y="467"/>
                    <a:pt x="321" y="467"/>
                  </a:cubicBezTo>
                  <a:cubicBezTo>
                    <a:pt x="334" y="487"/>
                    <a:pt x="365" y="473"/>
                    <a:pt x="360" y="450"/>
                  </a:cubicBezTo>
                  <a:cubicBezTo>
                    <a:pt x="360" y="449"/>
                    <a:pt x="360" y="449"/>
                    <a:pt x="360" y="449"/>
                  </a:cubicBezTo>
                  <a:cubicBezTo>
                    <a:pt x="355" y="429"/>
                    <a:pt x="377" y="415"/>
                    <a:pt x="393" y="426"/>
                  </a:cubicBezTo>
                  <a:cubicBezTo>
                    <a:pt x="394" y="427"/>
                    <a:pt x="394" y="427"/>
                    <a:pt x="394" y="427"/>
                  </a:cubicBezTo>
                  <a:cubicBezTo>
                    <a:pt x="414" y="441"/>
                    <a:pt x="438" y="417"/>
                    <a:pt x="424" y="397"/>
                  </a:cubicBezTo>
                  <a:cubicBezTo>
                    <a:pt x="424" y="396"/>
                    <a:pt x="424" y="396"/>
                    <a:pt x="424" y="396"/>
                  </a:cubicBezTo>
                  <a:cubicBezTo>
                    <a:pt x="413" y="379"/>
                    <a:pt x="428" y="358"/>
                    <a:pt x="447" y="363"/>
                  </a:cubicBezTo>
                  <a:cubicBezTo>
                    <a:pt x="448" y="363"/>
                    <a:pt x="448" y="363"/>
                    <a:pt x="448" y="363"/>
                  </a:cubicBezTo>
                  <a:cubicBezTo>
                    <a:pt x="471" y="369"/>
                    <a:pt x="485" y="337"/>
                    <a:pt x="465" y="324"/>
                  </a:cubicBezTo>
                  <a:cubicBezTo>
                    <a:pt x="465" y="323"/>
                    <a:pt x="465" y="323"/>
                    <a:pt x="465" y="323"/>
                  </a:cubicBezTo>
                  <a:cubicBezTo>
                    <a:pt x="448" y="312"/>
                    <a:pt x="454" y="286"/>
                    <a:pt x="474" y="284"/>
                  </a:cubicBezTo>
                  <a:cubicBezTo>
                    <a:pt x="475" y="284"/>
                    <a:pt x="475" y="284"/>
                    <a:pt x="475" y="284"/>
                  </a:cubicBezTo>
                  <a:cubicBezTo>
                    <a:pt x="499" y="281"/>
                    <a:pt x="501" y="246"/>
                    <a:pt x="477" y="241"/>
                  </a:cubicBezTo>
                  <a:close/>
                  <a:moveTo>
                    <a:pt x="251" y="411"/>
                  </a:moveTo>
                  <a:cubicBezTo>
                    <a:pt x="163" y="411"/>
                    <a:pt x="91" y="340"/>
                    <a:pt x="91" y="251"/>
                  </a:cubicBezTo>
                  <a:cubicBezTo>
                    <a:pt x="91" y="163"/>
                    <a:pt x="163" y="92"/>
                    <a:pt x="251" y="92"/>
                  </a:cubicBezTo>
                  <a:cubicBezTo>
                    <a:pt x="339" y="92"/>
                    <a:pt x="410" y="163"/>
                    <a:pt x="410" y="251"/>
                  </a:cubicBezTo>
                  <a:cubicBezTo>
                    <a:pt x="410" y="340"/>
                    <a:pt x="339" y="411"/>
                    <a:pt x="251" y="411"/>
                  </a:cubicBezTo>
                  <a:close/>
                </a:path>
              </a:pathLst>
            </a:custGeom>
            <a:solidFill>
              <a:srgbClr val="C45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Oval 131">
              <a:extLst>
                <a:ext uri="{FF2B5EF4-FFF2-40B4-BE49-F238E27FC236}">
                  <a16:creationId xmlns:a16="http://schemas.microsoft.com/office/drawing/2014/main" id="{50F59221-BE44-4BF7-B6A6-5C9BDA864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9350" y="6919913"/>
              <a:ext cx="509588" cy="509588"/>
            </a:xfrm>
            <a:prstGeom prst="ellipse">
              <a:avLst/>
            </a:pr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132">
              <a:extLst>
                <a:ext uri="{FF2B5EF4-FFF2-40B4-BE49-F238E27FC236}">
                  <a16:creationId xmlns:a16="http://schemas.microsoft.com/office/drawing/2014/main" id="{C0F4C145-0481-4EE9-9C1D-F236810FC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0238" y="5835650"/>
              <a:ext cx="1089025" cy="1098550"/>
            </a:xfrm>
            <a:custGeom>
              <a:avLst/>
              <a:gdLst>
                <a:gd name="T0" fmla="*/ 346 w 364"/>
                <a:gd name="T1" fmla="*/ 177 h 368"/>
                <a:gd name="T2" fmla="*/ 343 w 364"/>
                <a:gd name="T3" fmla="*/ 147 h 368"/>
                <a:gd name="T4" fmla="*/ 333 w 364"/>
                <a:gd name="T5" fmla="*/ 117 h 368"/>
                <a:gd name="T6" fmla="*/ 319 w 364"/>
                <a:gd name="T7" fmla="*/ 91 h 368"/>
                <a:gd name="T8" fmla="*/ 299 w 364"/>
                <a:gd name="T9" fmla="*/ 67 h 368"/>
                <a:gd name="T10" fmla="*/ 276 w 364"/>
                <a:gd name="T11" fmla="*/ 47 h 368"/>
                <a:gd name="T12" fmla="*/ 249 w 364"/>
                <a:gd name="T13" fmla="*/ 32 h 368"/>
                <a:gd name="T14" fmla="*/ 221 w 364"/>
                <a:gd name="T15" fmla="*/ 22 h 368"/>
                <a:gd name="T16" fmla="*/ 190 w 364"/>
                <a:gd name="T17" fmla="*/ 18 h 368"/>
                <a:gd name="T18" fmla="*/ 160 w 364"/>
                <a:gd name="T19" fmla="*/ 18 h 368"/>
                <a:gd name="T20" fmla="*/ 130 w 364"/>
                <a:gd name="T21" fmla="*/ 26 h 368"/>
                <a:gd name="T22" fmla="*/ 43 w 364"/>
                <a:gd name="T23" fmla="*/ 113 h 368"/>
                <a:gd name="T24" fmla="*/ 26 w 364"/>
                <a:gd name="T25" fmla="*/ 130 h 368"/>
                <a:gd name="T26" fmla="*/ 19 w 364"/>
                <a:gd name="T27" fmla="*/ 160 h 368"/>
                <a:gd name="T28" fmla="*/ 17 w 364"/>
                <a:gd name="T29" fmla="*/ 190 h 368"/>
                <a:gd name="T30" fmla="*/ 22 w 364"/>
                <a:gd name="T31" fmla="*/ 222 h 368"/>
                <a:gd name="T32" fmla="*/ 30 w 364"/>
                <a:gd name="T33" fmla="*/ 250 h 368"/>
                <a:gd name="T34" fmla="*/ 46 w 364"/>
                <a:gd name="T35" fmla="*/ 278 h 368"/>
                <a:gd name="T36" fmla="*/ 64 w 364"/>
                <a:gd name="T37" fmla="*/ 301 h 368"/>
                <a:gd name="T38" fmla="*/ 88 w 364"/>
                <a:gd name="T39" fmla="*/ 321 h 368"/>
                <a:gd name="T40" fmla="*/ 114 w 364"/>
                <a:gd name="T41" fmla="*/ 336 h 368"/>
                <a:gd name="T42" fmla="*/ 144 w 364"/>
                <a:gd name="T43" fmla="*/ 346 h 368"/>
                <a:gd name="T44" fmla="*/ 173 w 364"/>
                <a:gd name="T45" fmla="*/ 351 h 368"/>
                <a:gd name="T46" fmla="*/ 204 w 364"/>
                <a:gd name="T47" fmla="*/ 349 h 368"/>
                <a:gd name="T48" fmla="*/ 233 w 364"/>
                <a:gd name="T49" fmla="*/ 343 h 368"/>
                <a:gd name="T50" fmla="*/ 262 w 364"/>
                <a:gd name="T51" fmla="*/ 330 h 368"/>
                <a:gd name="T52" fmla="*/ 287 w 364"/>
                <a:gd name="T53" fmla="*/ 313 h 368"/>
                <a:gd name="T54" fmla="*/ 308 w 364"/>
                <a:gd name="T55" fmla="*/ 291 h 368"/>
                <a:gd name="T56" fmla="*/ 326 w 364"/>
                <a:gd name="T57" fmla="*/ 266 h 368"/>
                <a:gd name="T58" fmla="*/ 338 w 364"/>
                <a:gd name="T59" fmla="*/ 238 h 368"/>
                <a:gd name="T60" fmla="*/ 345 w 364"/>
                <a:gd name="T61" fmla="*/ 208 h 368"/>
                <a:gd name="T62" fmla="*/ 183 w 364"/>
                <a:gd name="T63" fmla="*/ 302 h 368"/>
                <a:gd name="T64" fmla="*/ 183 w 364"/>
                <a:gd name="T65" fmla="*/ 68 h 368"/>
                <a:gd name="T66" fmla="*/ 183 w 364"/>
                <a:gd name="T67" fmla="*/ 30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4" h="368">
                  <a:moveTo>
                    <a:pt x="347" y="177"/>
                  </a:moveTo>
                  <a:cubicBezTo>
                    <a:pt x="346" y="177"/>
                    <a:pt x="346" y="177"/>
                    <a:pt x="346" y="177"/>
                  </a:cubicBezTo>
                  <a:cubicBezTo>
                    <a:pt x="332" y="174"/>
                    <a:pt x="330" y="154"/>
                    <a:pt x="343" y="147"/>
                  </a:cubicBezTo>
                  <a:cubicBezTo>
                    <a:pt x="343" y="147"/>
                    <a:pt x="343" y="147"/>
                    <a:pt x="343" y="147"/>
                  </a:cubicBezTo>
                  <a:cubicBezTo>
                    <a:pt x="359" y="139"/>
                    <a:pt x="351" y="115"/>
                    <a:pt x="333" y="117"/>
                  </a:cubicBezTo>
                  <a:cubicBezTo>
                    <a:pt x="333" y="117"/>
                    <a:pt x="333" y="117"/>
                    <a:pt x="333" y="117"/>
                  </a:cubicBezTo>
                  <a:cubicBezTo>
                    <a:pt x="318" y="119"/>
                    <a:pt x="309" y="102"/>
                    <a:pt x="319" y="91"/>
                  </a:cubicBezTo>
                  <a:cubicBezTo>
                    <a:pt x="319" y="91"/>
                    <a:pt x="319" y="91"/>
                    <a:pt x="319" y="91"/>
                  </a:cubicBezTo>
                  <a:cubicBezTo>
                    <a:pt x="330" y="77"/>
                    <a:pt x="315" y="58"/>
                    <a:pt x="299" y="66"/>
                  </a:cubicBezTo>
                  <a:cubicBezTo>
                    <a:pt x="299" y="67"/>
                    <a:pt x="299" y="67"/>
                    <a:pt x="299" y="67"/>
                  </a:cubicBezTo>
                  <a:cubicBezTo>
                    <a:pt x="286" y="74"/>
                    <a:pt x="271" y="61"/>
                    <a:pt x="276" y="48"/>
                  </a:cubicBezTo>
                  <a:cubicBezTo>
                    <a:pt x="276" y="47"/>
                    <a:pt x="276" y="47"/>
                    <a:pt x="276" y="47"/>
                  </a:cubicBezTo>
                  <a:cubicBezTo>
                    <a:pt x="282" y="30"/>
                    <a:pt x="261" y="18"/>
                    <a:pt x="249" y="32"/>
                  </a:cubicBezTo>
                  <a:cubicBezTo>
                    <a:pt x="249" y="32"/>
                    <a:pt x="249" y="32"/>
                    <a:pt x="249" y="32"/>
                  </a:cubicBezTo>
                  <a:cubicBezTo>
                    <a:pt x="240" y="43"/>
                    <a:pt x="222" y="37"/>
                    <a:pt x="221" y="22"/>
                  </a:cubicBezTo>
                  <a:cubicBezTo>
                    <a:pt x="221" y="22"/>
                    <a:pt x="221" y="22"/>
                    <a:pt x="221" y="22"/>
                  </a:cubicBezTo>
                  <a:cubicBezTo>
                    <a:pt x="221" y="4"/>
                    <a:pt x="196" y="0"/>
                    <a:pt x="190" y="17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86" y="32"/>
                    <a:pt x="166" y="33"/>
                    <a:pt x="161" y="19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4" y="2"/>
                    <a:pt x="129" y="8"/>
                    <a:pt x="130" y="25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1" y="35"/>
                    <a:pt x="125" y="41"/>
                    <a:pt x="118" y="42"/>
                  </a:cubicBezTo>
                  <a:cubicBezTo>
                    <a:pt x="113" y="79"/>
                    <a:pt x="80" y="109"/>
                    <a:pt x="43" y="113"/>
                  </a:cubicBezTo>
                  <a:cubicBezTo>
                    <a:pt x="44" y="122"/>
                    <a:pt x="37" y="130"/>
                    <a:pt x="26" y="130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8" y="129"/>
                    <a:pt x="2" y="153"/>
                    <a:pt x="19" y="160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32" y="166"/>
                    <a:pt x="31" y="186"/>
                    <a:pt x="17" y="190"/>
                  </a:cubicBezTo>
                  <a:cubicBezTo>
                    <a:pt x="17" y="190"/>
                    <a:pt x="17" y="190"/>
                    <a:pt x="17" y="190"/>
                  </a:cubicBezTo>
                  <a:cubicBezTo>
                    <a:pt x="0" y="196"/>
                    <a:pt x="3" y="221"/>
                    <a:pt x="21" y="222"/>
                  </a:cubicBezTo>
                  <a:cubicBezTo>
                    <a:pt x="22" y="222"/>
                    <a:pt x="22" y="222"/>
                    <a:pt x="22" y="222"/>
                  </a:cubicBezTo>
                  <a:cubicBezTo>
                    <a:pt x="36" y="222"/>
                    <a:pt x="42" y="241"/>
                    <a:pt x="31" y="250"/>
                  </a:cubicBezTo>
                  <a:cubicBezTo>
                    <a:pt x="30" y="250"/>
                    <a:pt x="30" y="250"/>
                    <a:pt x="30" y="250"/>
                  </a:cubicBezTo>
                  <a:cubicBezTo>
                    <a:pt x="17" y="261"/>
                    <a:pt x="29" y="283"/>
                    <a:pt x="45" y="278"/>
                  </a:cubicBezTo>
                  <a:cubicBezTo>
                    <a:pt x="46" y="278"/>
                    <a:pt x="46" y="278"/>
                    <a:pt x="46" y="278"/>
                  </a:cubicBezTo>
                  <a:cubicBezTo>
                    <a:pt x="60" y="273"/>
                    <a:pt x="72" y="288"/>
                    <a:pt x="65" y="301"/>
                  </a:cubicBezTo>
                  <a:cubicBezTo>
                    <a:pt x="64" y="301"/>
                    <a:pt x="64" y="301"/>
                    <a:pt x="64" y="301"/>
                  </a:cubicBezTo>
                  <a:cubicBezTo>
                    <a:pt x="56" y="317"/>
                    <a:pt x="75" y="333"/>
                    <a:pt x="88" y="321"/>
                  </a:cubicBezTo>
                  <a:cubicBezTo>
                    <a:pt x="88" y="321"/>
                    <a:pt x="88" y="321"/>
                    <a:pt x="88" y="321"/>
                  </a:cubicBezTo>
                  <a:cubicBezTo>
                    <a:pt x="100" y="312"/>
                    <a:pt x="116" y="321"/>
                    <a:pt x="114" y="336"/>
                  </a:cubicBezTo>
                  <a:cubicBezTo>
                    <a:pt x="114" y="336"/>
                    <a:pt x="114" y="336"/>
                    <a:pt x="114" y="336"/>
                  </a:cubicBezTo>
                  <a:cubicBezTo>
                    <a:pt x="111" y="354"/>
                    <a:pt x="135" y="362"/>
                    <a:pt x="143" y="346"/>
                  </a:cubicBezTo>
                  <a:cubicBezTo>
                    <a:pt x="144" y="346"/>
                    <a:pt x="144" y="346"/>
                    <a:pt x="144" y="346"/>
                  </a:cubicBezTo>
                  <a:cubicBezTo>
                    <a:pt x="151" y="333"/>
                    <a:pt x="170" y="336"/>
                    <a:pt x="173" y="350"/>
                  </a:cubicBezTo>
                  <a:cubicBezTo>
                    <a:pt x="173" y="351"/>
                    <a:pt x="173" y="351"/>
                    <a:pt x="173" y="351"/>
                  </a:cubicBezTo>
                  <a:cubicBezTo>
                    <a:pt x="177" y="368"/>
                    <a:pt x="202" y="367"/>
                    <a:pt x="204" y="350"/>
                  </a:cubicBezTo>
                  <a:cubicBezTo>
                    <a:pt x="204" y="349"/>
                    <a:pt x="204" y="349"/>
                    <a:pt x="204" y="349"/>
                  </a:cubicBezTo>
                  <a:cubicBezTo>
                    <a:pt x="206" y="334"/>
                    <a:pt x="225" y="330"/>
                    <a:pt x="233" y="342"/>
                  </a:cubicBezTo>
                  <a:cubicBezTo>
                    <a:pt x="233" y="343"/>
                    <a:pt x="233" y="343"/>
                    <a:pt x="233" y="343"/>
                  </a:cubicBezTo>
                  <a:cubicBezTo>
                    <a:pt x="243" y="358"/>
                    <a:pt x="266" y="348"/>
                    <a:pt x="262" y="330"/>
                  </a:cubicBezTo>
                  <a:cubicBezTo>
                    <a:pt x="262" y="330"/>
                    <a:pt x="262" y="330"/>
                    <a:pt x="262" y="330"/>
                  </a:cubicBezTo>
                  <a:cubicBezTo>
                    <a:pt x="258" y="315"/>
                    <a:pt x="274" y="305"/>
                    <a:pt x="286" y="313"/>
                  </a:cubicBezTo>
                  <a:cubicBezTo>
                    <a:pt x="287" y="313"/>
                    <a:pt x="287" y="313"/>
                    <a:pt x="287" y="313"/>
                  </a:cubicBezTo>
                  <a:cubicBezTo>
                    <a:pt x="301" y="324"/>
                    <a:pt x="319" y="306"/>
                    <a:pt x="309" y="291"/>
                  </a:cubicBezTo>
                  <a:cubicBezTo>
                    <a:pt x="308" y="291"/>
                    <a:pt x="308" y="291"/>
                    <a:pt x="308" y="291"/>
                  </a:cubicBezTo>
                  <a:cubicBezTo>
                    <a:pt x="300" y="279"/>
                    <a:pt x="311" y="263"/>
                    <a:pt x="325" y="266"/>
                  </a:cubicBezTo>
                  <a:cubicBezTo>
                    <a:pt x="326" y="266"/>
                    <a:pt x="326" y="266"/>
                    <a:pt x="326" y="266"/>
                  </a:cubicBezTo>
                  <a:cubicBezTo>
                    <a:pt x="343" y="271"/>
                    <a:pt x="353" y="248"/>
                    <a:pt x="338" y="238"/>
                  </a:cubicBezTo>
                  <a:cubicBezTo>
                    <a:pt x="338" y="238"/>
                    <a:pt x="338" y="238"/>
                    <a:pt x="338" y="238"/>
                  </a:cubicBezTo>
                  <a:cubicBezTo>
                    <a:pt x="326" y="229"/>
                    <a:pt x="330" y="210"/>
                    <a:pt x="345" y="209"/>
                  </a:cubicBezTo>
                  <a:cubicBezTo>
                    <a:pt x="345" y="208"/>
                    <a:pt x="345" y="208"/>
                    <a:pt x="345" y="208"/>
                  </a:cubicBezTo>
                  <a:cubicBezTo>
                    <a:pt x="363" y="206"/>
                    <a:pt x="364" y="181"/>
                    <a:pt x="347" y="177"/>
                  </a:cubicBezTo>
                  <a:close/>
                  <a:moveTo>
                    <a:pt x="183" y="302"/>
                  </a:moveTo>
                  <a:cubicBezTo>
                    <a:pt x="119" y="302"/>
                    <a:pt x="67" y="249"/>
                    <a:pt x="67" y="185"/>
                  </a:cubicBezTo>
                  <a:cubicBezTo>
                    <a:pt x="67" y="120"/>
                    <a:pt x="119" y="68"/>
                    <a:pt x="183" y="68"/>
                  </a:cubicBezTo>
                  <a:cubicBezTo>
                    <a:pt x="247" y="68"/>
                    <a:pt x="298" y="120"/>
                    <a:pt x="298" y="185"/>
                  </a:cubicBezTo>
                  <a:cubicBezTo>
                    <a:pt x="298" y="249"/>
                    <a:pt x="247" y="302"/>
                    <a:pt x="183" y="302"/>
                  </a:cubicBezTo>
                  <a:close/>
                </a:path>
              </a:pathLst>
            </a:custGeom>
            <a:solidFill>
              <a:srgbClr val="ABD5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133">
              <a:extLst>
                <a:ext uri="{FF2B5EF4-FFF2-40B4-BE49-F238E27FC236}">
                  <a16:creationId xmlns:a16="http://schemas.microsoft.com/office/drawing/2014/main" id="{28C58028-7997-4141-8717-BD0239A33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75788" y="5835650"/>
              <a:ext cx="1089025" cy="1098550"/>
            </a:xfrm>
            <a:custGeom>
              <a:avLst/>
              <a:gdLst>
                <a:gd name="T0" fmla="*/ 346 w 364"/>
                <a:gd name="T1" fmla="*/ 177 h 368"/>
                <a:gd name="T2" fmla="*/ 343 w 364"/>
                <a:gd name="T3" fmla="*/ 147 h 368"/>
                <a:gd name="T4" fmla="*/ 333 w 364"/>
                <a:gd name="T5" fmla="*/ 117 h 368"/>
                <a:gd name="T6" fmla="*/ 319 w 364"/>
                <a:gd name="T7" fmla="*/ 91 h 368"/>
                <a:gd name="T8" fmla="*/ 299 w 364"/>
                <a:gd name="T9" fmla="*/ 67 h 368"/>
                <a:gd name="T10" fmla="*/ 276 w 364"/>
                <a:gd name="T11" fmla="*/ 47 h 368"/>
                <a:gd name="T12" fmla="*/ 249 w 364"/>
                <a:gd name="T13" fmla="*/ 32 h 368"/>
                <a:gd name="T14" fmla="*/ 221 w 364"/>
                <a:gd name="T15" fmla="*/ 22 h 368"/>
                <a:gd name="T16" fmla="*/ 190 w 364"/>
                <a:gd name="T17" fmla="*/ 18 h 368"/>
                <a:gd name="T18" fmla="*/ 160 w 364"/>
                <a:gd name="T19" fmla="*/ 18 h 368"/>
                <a:gd name="T20" fmla="*/ 130 w 364"/>
                <a:gd name="T21" fmla="*/ 26 h 368"/>
                <a:gd name="T22" fmla="*/ 103 w 364"/>
                <a:gd name="T23" fmla="*/ 38 h 368"/>
                <a:gd name="T24" fmla="*/ 77 w 364"/>
                <a:gd name="T25" fmla="*/ 56 h 368"/>
                <a:gd name="T26" fmla="*/ 56 w 364"/>
                <a:gd name="T27" fmla="*/ 76 h 368"/>
                <a:gd name="T28" fmla="*/ 38 w 364"/>
                <a:gd name="T29" fmla="*/ 103 h 368"/>
                <a:gd name="T30" fmla="*/ 26 w 364"/>
                <a:gd name="T31" fmla="*/ 130 h 368"/>
                <a:gd name="T32" fmla="*/ 19 w 364"/>
                <a:gd name="T33" fmla="*/ 160 h 368"/>
                <a:gd name="T34" fmla="*/ 17 w 364"/>
                <a:gd name="T35" fmla="*/ 190 h 368"/>
                <a:gd name="T36" fmla="*/ 21 w 364"/>
                <a:gd name="T37" fmla="*/ 222 h 368"/>
                <a:gd name="T38" fmla="*/ 30 w 364"/>
                <a:gd name="T39" fmla="*/ 250 h 368"/>
                <a:gd name="T40" fmla="*/ 46 w 364"/>
                <a:gd name="T41" fmla="*/ 278 h 368"/>
                <a:gd name="T42" fmla="*/ 64 w 364"/>
                <a:gd name="T43" fmla="*/ 301 h 368"/>
                <a:gd name="T44" fmla="*/ 88 w 364"/>
                <a:gd name="T45" fmla="*/ 321 h 368"/>
                <a:gd name="T46" fmla="*/ 114 w 364"/>
                <a:gd name="T47" fmla="*/ 336 h 368"/>
                <a:gd name="T48" fmla="*/ 144 w 364"/>
                <a:gd name="T49" fmla="*/ 346 h 368"/>
                <a:gd name="T50" fmla="*/ 173 w 364"/>
                <a:gd name="T51" fmla="*/ 351 h 368"/>
                <a:gd name="T52" fmla="*/ 204 w 364"/>
                <a:gd name="T53" fmla="*/ 349 h 368"/>
                <a:gd name="T54" fmla="*/ 233 w 364"/>
                <a:gd name="T55" fmla="*/ 343 h 368"/>
                <a:gd name="T56" fmla="*/ 261 w 364"/>
                <a:gd name="T57" fmla="*/ 330 h 368"/>
                <a:gd name="T58" fmla="*/ 286 w 364"/>
                <a:gd name="T59" fmla="*/ 313 h 368"/>
                <a:gd name="T60" fmla="*/ 308 w 364"/>
                <a:gd name="T61" fmla="*/ 291 h 368"/>
                <a:gd name="T62" fmla="*/ 325 w 364"/>
                <a:gd name="T63" fmla="*/ 266 h 368"/>
                <a:gd name="T64" fmla="*/ 338 w 364"/>
                <a:gd name="T65" fmla="*/ 238 h 368"/>
                <a:gd name="T66" fmla="*/ 345 w 364"/>
                <a:gd name="T67" fmla="*/ 208 h 368"/>
                <a:gd name="T68" fmla="*/ 182 w 364"/>
                <a:gd name="T69" fmla="*/ 302 h 368"/>
                <a:gd name="T70" fmla="*/ 182 w 364"/>
                <a:gd name="T71" fmla="*/ 68 h 368"/>
                <a:gd name="T72" fmla="*/ 182 w 364"/>
                <a:gd name="T73" fmla="*/ 30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4" h="368">
                  <a:moveTo>
                    <a:pt x="347" y="177"/>
                  </a:moveTo>
                  <a:cubicBezTo>
                    <a:pt x="346" y="177"/>
                    <a:pt x="346" y="177"/>
                    <a:pt x="346" y="177"/>
                  </a:cubicBezTo>
                  <a:cubicBezTo>
                    <a:pt x="332" y="174"/>
                    <a:pt x="330" y="154"/>
                    <a:pt x="342" y="147"/>
                  </a:cubicBezTo>
                  <a:cubicBezTo>
                    <a:pt x="343" y="147"/>
                    <a:pt x="343" y="147"/>
                    <a:pt x="343" y="147"/>
                  </a:cubicBezTo>
                  <a:cubicBezTo>
                    <a:pt x="358" y="139"/>
                    <a:pt x="351" y="115"/>
                    <a:pt x="333" y="117"/>
                  </a:cubicBezTo>
                  <a:cubicBezTo>
                    <a:pt x="333" y="117"/>
                    <a:pt x="333" y="117"/>
                    <a:pt x="333" y="117"/>
                  </a:cubicBezTo>
                  <a:cubicBezTo>
                    <a:pt x="318" y="119"/>
                    <a:pt x="309" y="102"/>
                    <a:pt x="318" y="91"/>
                  </a:cubicBezTo>
                  <a:cubicBezTo>
                    <a:pt x="319" y="91"/>
                    <a:pt x="319" y="91"/>
                    <a:pt x="319" y="91"/>
                  </a:cubicBezTo>
                  <a:cubicBezTo>
                    <a:pt x="330" y="77"/>
                    <a:pt x="315" y="58"/>
                    <a:pt x="299" y="66"/>
                  </a:cubicBezTo>
                  <a:cubicBezTo>
                    <a:pt x="299" y="67"/>
                    <a:pt x="299" y="67"/>
                    <a:pt x="299" y="67"/>
                  </a:cubicBezTo>
                  <a:cubicBezTo>
                    <a:pt x="286" y="74"/>
                    <a:pt x="271" y="61"/>
                    <a:pt x="276" y="48"/>
                  </a:cubicBezTo>
                  <a:cubicBezTo>
                    <a:pt x="276" y="47"/>
                    <a:pt x="276" y="47"/>
                    <a:pt x="276" y="47"/>
                  </a:cubicBezTo>
                  <a:cubicBezTo>
                    <a:pt x="282" y="30"/>
                    <a:pt x="260" y="18"/>
                    <a:pt x="249" y="32"/>
                  </a:cubicBezTo>
                  <a:cubicBezTo>
                    <a:pt x="249" y="32"/>
                    <a:pt x="249" y="32"/>
                    <a:pt x="249" y="32"/>
                  </a:cubicBezTo>
                  <a:cubicBezTo>
                    <a:pt x="240" y="43"/>
                    <a:pt x="221" y="37"/>
                    <a:pt x="221" y="22"/>
                  </a:cubicBezTo>
                  <a:cubicBezTo>
                    <a:pt x="221" y="22"/>
                    <a:pt x="221" y="22"/>
                    <a:pt x="221" y="22"/>
                  </a:cubicBezTo>
                  <a:cubicBezTo>
                    <a:pt x="220" y="4"/>
                    <a:pt x="196" y="0"/>
                    <a:pt x="190" y="17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85" y="32"/>
                    <a:pt x="166" y="33"/>
                    <a:pt x="161" y="19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3" y="2"/>
                    <a:pt x="129" y="8"/>
                    <a:pt x="130" y="25"/>
                  </a:cubicBezTo>
                  <a:cubicBezTo>
                    <a:pt x="130" y="26"/>
                    <a:pt x="130" y="26"/>
                    <a:pt x="130" y="26"/>
                  </a:cubicBezTo>
                  <a:cubicBezTo>
                    <a:pt x="131" y="41"/>
                    <a:pt x="113" y="4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90" y="25"/>
                    <a:pt x="70" y="39"/>
                    <a:pt x="77" y="55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3" y="69"/>
                    <a:pt x="69" y="83"/>
                    <a:pt x="56" y="77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40" y="69"/>
                    <a:pt x="25" y="90"/>
                    <a:pt x="38" y="102"/>
                  </a:cubicBezTo>
                  <a:cubicBezTo>
                    <a:pt x="38" y="103"/>
                    <a:pt x="38" y="103"/>
                    <a:pt x="38" y="103"/>
                  </a:cubicBezTo>
                  <a:cubicBezTo>
                    <a:pt x="49" y="113"/>
                    <a:pt x="41" y="131"/>
                    <a:pt x="26" y="130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8" y="129"/>
                    <a:pt x="2" y="153"/>
                    <a:pt x="18" y="160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32" y="166"/>
                    <a:pt x="31" y="186"/>
                    <a:pt x="17" y="190"/>
                  </a:cubicBezTo>
                  <a:cubicBezTo>
                    <a:pt x="17" y="190"/>
                    <a:pt x="17" y="190"/>
                    <a:pt x="17" y="190"/>
                  </a:cubicBezTo>
                  <a:cubicBezTo>
                    <a:pt x="0" y="196"/>
                    <a:pt x="3" y="221"/>
                    <a:pt x="21" y="222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36" y="222"/>
                    <a:pt x="42" y="241"/>
                    <a:pt x="31" y="250"/>
                  </a:cubicBezTo>
                  <a:cubicBezTo>
                    <a:pt x="30" y="250"/>
                    <a:pt x="30" y="250"/>
                    <a:pt x="30" y="250"/>
                  </a:cubicBezTo>
                  <a:cubicBezTo>
                    <a:pt x="17" y="261"/>
                    <a:pt x="28" y="283"/>
                    <a:pt x="45" y="278"/>
                  </a:cubicBezTo>
                  <a:cubicBezTo>
                    <a:pt x="46" y="278"/>
                    <a:pt x="46" y="278"/>
                    <a:pt x="46" y="278"/>
                  </a:cubicBezTo>
                  <a:cubicBezTo>
                    <a:pt x="59" y="273"/>
                    <a:pt x="72" y="288"/>
                    <a:pt x="64" y="301"/>
                  </a:cubicBezTo>
                  <a:cubicBezTo>
                    <a:pt x="64" y="301"/>
                    <a:pt x="64" y="301"/>
                    <a:pt x="64" y="301"/>
                  </a:cubicBezTo>
                  <a:cubicBezTo>
                    <a:pt x="55" y="317"/>
                    <a:pt x="74" y="333"/>
                    <a:pt x="88" y="321"/>
                  </a:cubicBezTo>
                  <a:cubicBezTo>
                    <a:pt x="88" y="321"/>
                    <a:pt x="88" y="321"/>
                    <a:pt x="88" y="321"/>
                  </a:cubicBezTo>
                  <a:cubicBezTo>
                    <a:pt x="99" y="312"/>
                    <a:pt x="116" y="321"/>
                    <a:pt x="114" y="336"/>
                  </a:cubicBezTo>
                  <a:cubicBezTo>
                    <a:pt x="114" y="336"/>
                    <a:pt x="114" y="336"/>
                    <a:pt x="114" y="336"/>
                  </a:cubicBezTo>
                  <a:cubicBezTo>
                    <a:pt x="111" y="354"/>
                    <a:pt x="135" y="362"/>
                    <a:pt x="143" y="346"/>
                  </a:cubicBezTo>
                  <a:cubicBezTo>
                    <a:pt x="144" y="346"/>
                    <a:pt x="144" y="346"/>
                    <a:pt x="144" y="346"/>
                  </a:cubicBezTo>
                  <a:cubicBezTo>
                    <a:pt x="151" y="333"/>
                    <a:pt x="170" y="336"/>
                    <a:pt x="173" y="350"/>
                  </a:cubicBezTo>
                  <a:cubicBezTo>
                    <a:pt x="173" y="351"/>
                    <a:pt x="173" y="351"/>
                    <a:pt x="173" y="351"/>
                  </a:cubicBezTo>
                  <a:cubicBezTo>
                    <a:pt x="177" y="368"/>
                    <a:pt x="201" y="367"/>
                    <a:pt x="204" y="350"/>
                  </a:cubicBezTo>
                  <a:cubicBezTo>
                    <a:pt x="204" y="349"/>
                    <a:pt x="204" y="349"/>
                    <a:pt x="204" y="349"/>
                  </a:cubicBezTo>
                  <a:cubicBezTo>
                    <a:pt x="206" y="334"/>
                    <a:pt x="225" y="330"/>
                    <a:pt x="233" y="342"/>
                  </a:cubicBezTo>
                  <a:cubicBezTo>
                    <a:pt x="233" y="343"/>
                    <a:pt x="233" y="343"/>
                    <a:pt x="233" y="343"/>
                  </a:cubicBezTo>
                  <a:cubicBezTo>
                    <a:pt x="243" y="358"/>
                    <a:pt x="266" y="348"/>
                    <a:pt x="262" y="330"/>
                  </a:cubicBezTo>
                  <a:cubicBezTo>
                    <a:pt x="261" y="330"/>
                    <a:pt x="261" y="330"/>
                    <a:pt x="261" y="330"/>
                  </a:cubicBezTo>
                  <a:cubicBezTo>
                    <a:pt x="258" y="315"/>
                    <a:pt x="274" y="305"/>
                    <a:pt x="286" y="313"/>
                  </a:cubicBezTo>
                  <a:cubicBezTo>
                    <a:pt x="286" y="313"/>
                    <a:pt x="286" y="313"/>
                    <a:pt x="286" y="313"/>
                  </a:cubicBezTo>
                  <a:cubicBezTo>
                    <a:pt x="301" y="324"/>
                    <a:pt x="318" y="306"/>
                    <a:pt x="308" y="291"/>
                  </a:cubicBezTo>
                  <a:cubicBezTo>
                    <a:pt x="308" y="291"/>
                    <a:pt x="308" y="291"/>
                    <a:pt x="308" y="291"/>
                  </a:cubicBezTo>
                  <a:cubicBezTo>
                    <a:pt x="300" y="279"/>
                    <a:pt x="311" y="263"/>
                    <a:pt x="325" y="266"/>
                  </a:cubicBezTo>
                  <a:cubicBezTo>
                    <a:pt x="325" y="266"/>
                    <a:pt x="325" y="266"/>
                    <a:pt x="325" y="266"/>
                  </a:cubicBezTo>
                  <a:cubicBezTo>
                    <a:pt x="343" y="271"/>
                    <a:pt x="353" y="248"/>
                    <a:pt x="338" y="238"/>
                  </a:cubicBezTo>
                  <a:cubicBezTo>
                    <a:pt x="338" y="238"/>
                    <a:pt x="338" y="238"/>
                    <a:pt x="338" y="238"/>
                  </a:cubicBezTo>
                  <a:cubicBezTo>
                    <a:pt x="326" y="229"/>
                    <a:pt x="330" y="210"/>
                    <a:pt x="345" y="209"/>
                  </a:cubicBezTo>
                  <a:cubicBezTo>
                    <a:pt x="345" y="208"/>
                    <a:pt x="345" y="208"/>
                    <a:pt x="345" y="208"/>
                  </a:cubicBezTo>
                  <a:cubicBezTo>
                    <a:pt x="363" y="206"/>
                    <a:pt x="364" y="181"/>
                    <a:pt x="347" y="177"/>
                  </a:cubicBezTo>
                  <a:close/>
                  <a:moveTo>
                    <a:pt x="182" y="302"/>
                  </a:moveTo>
                  <a:cubicBezTo>
                    <a:pt x="118" y="302"/>
                    <a:pt x="67" y="249"/>
                    <a:pt x="67" y="185"/>
                  </a:cubicBezTo>
                  <a:cubicBezTo>
                    <a:pt x="67" y="120"/>
                    <a:pt x="118" y="68"/>
                    <a:pt x="182" y="68"/>
                  </a:cubicBezTo>
                  <a:cubicBezTo>
                    <a:pt x="246" y="68"/>
                    <a:pt x="298" y="120"/>
                    <a:pt x="298" y="185"/>
                  </a:cubicBezTo>
                  <a:cubicBezTo>
                    <a:pt x="298" y="249"/>
                    <a:pt x="246" y="302"/>
                    <a:pt x="182" y="302"/>
                  </a:cubicBezTo>
                  <a:close/>
                </a:path>
              </a:pathLst>
            </a:custGeom>
            <a:solidFill>
              <a:srgbClr val="2B44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Oval 134">
              <a:extLst>
                <a:ext uri="{FF2B5EF4-FFF2-40B4-BE49-F238E27FC236}">
                  <a16:creationId xmlns:a16="http://schemas.microsoft.com/office/drawing/2014/main" id="{9ADAE894-5D27-443C-BF99-4C470F86EB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85363" y="6202363"/>
              <a:ext cx="365125" cy="369888"/>
            </a:xfrm>
            <a:prstGeom prst="ellipse">
              <a:avLst/>
            </a:pr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6FC9E285-017C-474B-B96C-FFDADE27BD36}"/>
              </a:ext>
            </a:extLst>
          </p:cNvPr>
          <p:cNvGrpSpPr/>
          <p:nvPr/>
        </p:nvGrpSpPr>
        <p:grpSpPr>
          <a:xfrm>
            <a:off x="3783520" y="3062792"/>
            <a:ext cx="1033752" cy="1071700"/>
            <a:chOff x="404813" y="4565650"/>
            <a:chExt cx="2681287" cy="2779713"/>
          </a:xfrm>
        </p:grpSpPr>
        <p:sp>
          <p:nvSpPr>
            <p:cNvPr id="230" name="Freeform 138">
              <a:extLst>
                <a:ext uri="{FF2B5EF4-FFF2-40B4-BE49-F238E27FC236}">
                  <a16:creationId xmlns:a16="http://schemas.microsoft.com/office/drawing/2014/main" id="{0756303D-05B3-4ABD-A47B-DF57CB222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565650"/>
              <a:ext cx="2663825" cy="2662238"/>
            </a:xfrm>
            <a:custGeom>
              <a:avLst/>
              <a:gdLst>
                <a:gd name="T0" fmla="*/ 889 w 890"/>
                <a:gd name="T1" fmla="*/ 447 h 891"/>
                <a:gd name="T2" fmla="*/ 443 w 890"/>
                <a:gd name="T3" fmla="*/ 890 h 891"/>
                <a:gd name="T4" fmla="*/ 1 w 890"/>
                <a:gd name="T5" fmla="*/ 444 h 891"/>
                <a:gd name="T6" fmla="*/ 447 w 890"/>
                <a:gd name="T7" fmla="*/ 1 h 891"/>
                <a:gd name="T8" fmla="*/ 889 w 890"/>
                <a:gd name="T9" fmla="*/ 447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0" h="891">
                  <a:moveTo>
                    <a:pt x="889" y="447"/>
                  </a:moveTo>
                  <a:cubicBezTo>
                    <a:pt x="888" y="693"/>
                    <a:pt x="688" y="891"/>
                    <a:pt x="443" y="890"/>
                  </a:cubicBezTo>
                  <a:cubicBezTo>
                    <a:pt x="198" y="889"/>
                    <a:pt x="0" y="689"/>
                    <a:pt x="1" y="444"/>
                  </a:cubicBezTo>
                  <a:cubicBezTo>
                    <a:pt x="2" y="198"/>
                    <a:pt x="201" y="0"/>
                    <a:pt x="447" y="1"/>
                  </a:cubicBezTo>
                  <a:cubicBezTo>
                    <a:pt x="692" y="2"/>
                    <a:pt x="890" y="202"/>
                    <a:pt x="889" y="447"/>
                  </a:cubicBezTo>
                  <a:close/>
                </a:path>
              </a:pathLst>
            </a:custGeom>
            <a:solidFill>
              <a:srgbClr val="A4A1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139">
              <a:extLst>
                <a:ext uri="{FF2B5EF4-FFF2-40B4-BE49-F238E27FC236}">
                  <a16:creationId xmlns:a16="http://schemas.microsoft.com/office/drawing/2014/main" id="{4DE178C6-4D52-4488-8750-81246550B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" y="5164138"/>
              <a:ext cx="2081212" cy="1290638"/>
            </a:xfrm>
            <a:custGeom>
              <a:avLst/>
              <a:gdLst>
                <a:gd name="T0" fmla="*/ 684 w 696"/>
                <a:gd name="T1" fmla="*/ 432 h 432"/>
                <a:gd name="T2" fmla="*/ 12 w 696"/>
                <a:gd name="T3" fmla="*/ 432 h 432"/>
                <a:gd name="T4" fmla="*/ 0 w 696"/>
                <a:gd name="T5" fmla="*/ 420 h 432"/>
                <a:gd name="T6" fmla="*/ 0 w 696"/>
                <a:gd name="T7" fmla="*/ 12 h 432"/>
                <a:gd name="T8" fmla="*/ 12 w 696"/>
                <a:gd name="T9" fmla="*/ 0 h 432"/>
                <a:gd name="T10" fmla="*/ 684 w 696"/>
                <a:gd name="T11" fmla="*/ 0 h 432"/>
                <a:gd name="T12" fmla="*/ 696 w 696"/>
                <a:gd name="T13" fmla="*/ 12 h 432"/>
                <a:gd name="T14" fmla="*/ 696 w 696"/>
                <a:gd name="T15" fmla="*/ 420 h 432"/>
                <a:gd name="T16" fmla="*/ 684 w 696"/>
                <a:gd name="T17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6" h="432">
                  <a:moveTo>
                    <a:pt x="684" y="432"/>
                  </a:moveTo>
                  <a:cubicBezTo>
                    <a:pt x="12" y="432"/>
                    <a:pt x="12" y="432"/>
                    <a:pt x="12" y="432"/>
                  </a:cubicBezTo>
                  <a:cubicBezTo>
                    <a:pt x="6" y="432"/>
                    <a:pt x="0" y="426"/>
                    <a:pt x="0" y="42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684" y="0"/>
                    <a:pt x="684" y="0"/>
                    <a:pt x="684" y="0"/>
                  </a:cubicBezTo>
                  <a:cubicBezTo>
                    <a:pt x="691" y="0"/>
                    <a:pt x="696" y="6"/>
                    <a:pt x="696" y="12"/>
                  </a:cubicBezTo>
                  <a:cubicBezTo>
                    <a:pt x="696" y="420"/>
                    <a:pt x="696" y="420"/>
                    <a:pt x="696" y="420"/>
                  </a:cubicBezTo>
                  <a:cubicBezTo>
                    <a:pt x="696" y="426"/>
                    <a:pt x="691" y="432"/>
                    <a:pt x="684" y="432"/>
                  </a:cubicBezTo>
                  <a:close/>
                </a:path>
              </a:pathLst>
            </a:custGeom>
            <a:solidFill>
              <a:srgbClr val="E0DB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140">
              <a:extLst>
                <a:ext uri="{FF2B5EF4-FFF2-40B4-BE49-F238E27FC236}">
                  <a16:creationId xmlns:a16="http://schemas.microsoft.com/office/drawing/2014/main" id="{65D2CE0A-F693-4524-8033-237E181A9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813" y="5121275"/>
              <a:ext cx="2170112" cy="1374775"/>
            </a:xfrm>
            <a:custGeom>
              <a:avLst/>
              <a:gdLst>
                <a:gd name="T0" fmla="*/ 699 w 725"/>
                <a:gd name="T1" fmla="*/ 460 h 460"/>
                <a:gd name="T2" fmla="*/ 26 w 725"/>
                <a:gd name="T3" fmla="*/ 460 h 460"/>
                <a:gd name="T4" fmla="*/ 0 w 725"/>
                <a:gd name="T5" fmla="*/ 434 h 460"/>
                <a:gd name="T6" fmla="*/ 0 w 725"/>
                <a:gd name="T7" fmla="*/ 26 h 460"/>
                <a:gd name="T8" fmla="*/ 26 w 725"/>
                <a:gd name="T9" fmla="*/ 0 h 460"/>
                <a:gd name="T10" fmla="*/ 699 w 725"/>
                <a:gd name="T11" fmla="*/ 0 h 460"/>
                <a:gd name="T12" fmla="*/ 725 w 725"/>
                <a:gd name="T13" fmla="*/ 26 h 460"/>
                <a:gd name="T14" fmla="*/ 725 w 725"/>
                <a:gd name="T15" fmla="*/ 434 h 460"/>
                <a:gd name="T16" fmla="*/ 699 w 725"/>
                <a:gd name="T17" fmla="*/ 460 h 460"/>
                <a:gd name="T18" fmla="*/ 29 w 725"/>
                <a:gd name="T19" fmla="*/ 431 h 460"/>
                <a:gd name="T20" fmla="*/ 696 w 725"/>
                <a:gd name="T21" fmla="*/ 431 h 460"/>
                <a:gd name="T22" fmla="*/ 696 w 725"/>
                <a:gd name="T23" fmla="*/ 29 h 460"/>
                <a:gd name="T24" fmla="*/ 29 w 725"/>
                <a:gd name="T25" fmla="*/ 29 h 460"/>
                <a:gd name="T26" fmla="*/ 29 w 725"/>
                <a:gd name="T27" fmla="*/ 43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5" h="460">
                  <a:moveTo>
                    <a:pt x="699" y="460"/>
                  </a:moveTo>
                  <a:cubicBezTo>
                    <a:pt x="26" y="460"/>
                    <a:pt x="26" y="460"/>
                    <a:pt x="26" y="460"/>
                  </a:cubicBezTo>
                  <a:cubicBezTo>
                    <a:pt x="11" y="460"/>
                    <a:pt x="0" y="449"/>
                    <a:pt x="0" y="43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713" y="0"/>
                    <a:pt x="725" y="12"/>
                    <a:pt x="725" y="26"/>
                  </a:cubicBezTo>
                  <a:cubicBezTo>
                    <a:pt x="725" y="434"/>
                    <a:pt x="725" y="434"/>
                    <a:pt x="725" y="434"/>
                  </a:cubicBezTo>
                  <a:cubicBezTo>
                    <a:pt x="725" y="449"/>
                    <a:pt x="713" y="460"/>
                    <a:pt x="699" y="460"/>
                  </a:cubicBezTo>
                  <a:close/>
                  <a:moveTo>
                    <a:pt x="29" y="431"/>
                  </a:moveTo>
                  <a:cubicBezTo>
                    <a:pt x="696" y="431"/>
                    <a:pt x="696" y="431"/>
                    <a:pt x="696" y="431"/>
                  </a:cubicBezTo>
                  <a:cubicBezTo>
                    <a:pt x="696" y="29"/>
                    <a:pt x="696" y="29"/>
                    <a:pt x="696" y="29"/>
                  </a:cubicBezTo>
                  <a:cubicBezTo>
                    <a:pt x="29" y="29"/>
                    <a:pt x="29" y="29"/>
                    <a:pt x="29" y="29"/>
                  </a:cubicBezTo>
                  <a:lnTo>
                    <a:pt x="29" y="431"/>
                  </a:lnTo>
                  <a:close/>
                </a:path>
              </a:pathLst>
            </a:custGeom>
            <a:solidFill>
              <a:srgbClr val="C45F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141">
              <a:extLst>
                <a:ext uri="{FF2B5EF4-FFF2-40B4-BE49-F238E27FC236}">
                  <a16:creationId xmlns:a16="http://schemas.microsoft.com/office/drawing/2014/main" id="{54812881-9604-4B3D-97C2-8139F2D83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5495925"/>
              <a:ext cx="693737" cy="34925"/>
            </a:xfrm>
            <a:custGeom>
              <a:avLst/>
              <a:gdLst>
                <a:gd name="T0" fmla="*/ 225 w 232"/>
                <a:gd name="T1" fmla="*/ 0 h 12"/>
                <a:gd name="T2" fmla="*/ 7 w 232"/>
                <a:gd name="T3" fmla="*/ 0 h 12"/>
                <a:gd name="T4" fmla="*/ 7 w 232"/>
                <a:gd name="T5" fmla="*/ 12 h 12"/>
                <a:gd name="T6" fmla="*/ 225 w 232"/>
                <a:gd name="T7" fmla="*/ 12 h 12"/>
                <a:gd name="T8" fmla="*/ 225 w 23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2">
                  <a:moveTo>
                    <a:pt x="22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12"/>
                    <a:pt x="7" y="12"/>
                  </a:cubicBezTo>
                  <a:cubicBezTo>
                    <a:pt x="225" y="12"/>
                    <a:pt x="225" y="12"/>
                    <a:pt x="225" y="12"/>
                  </a:cubicBezTo>
                  <a:cubicBezTo>
                    <a:pt x="232" y="12"/>
                    <a:pt x="232" y="0"/>
                    <a:pt x="225" y="0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42">
              <a:extLst>
                <a:ext uri="{FF2B5EF4-FFF2-40B4-BE49-F238E27FC236}">
                  <a16:creationId xmlns:a16="http://schemas.microsoft.com/office/drawing/2014/main" id="{28225DB4-F9CD-47B9-B12D-04E85B507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5665788"/>
              <a:ext cx="693737" cy="38100"/>
            </a:xfrm>
            <a:custGeom>
              <a:avLst/>
              <a:gdLst>
                <a:gd name="T0" fmla="*/ 225 w 232"/>
                <a:gd name="T1" fmla="*/ 0 h 13"/>
                <a:gd name="T2" fmla="*/ 7 w 232"/>
                <a:gd name="T3" fmla="*/ 0 h 13"/>
                <a:gd name="T4" fmla="*/ 7 w 232"/>
                <a:gd name="T5" fmla="*/ 13 h 13"/>
                <a:gd name="T6" fmla="*/ 225 w 232"/>
                <a:gd name="T7" fmla="*/ 13 h 13"/>
                <a:gd name="T8" fmla="*/ 225 w 2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3">
                  <a:moveTo>
                    <a:pt x="22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13"/>
                    <a:pt x="7" y="13"/>
                  </a:cubicBezTo>
                  <a:cubicBezTo>
                    <a:pt x="225" y="13"/>
                    <a:pt x="225" y="13"/>
                    <a:pt x="225" y="13"/>
                  </a:cubicBezTo>
                  <a:cubicBezTo>
                    <a:pt x="232" y="13"/>
                    <a:pt x="232" y="0"/>
                    <a:pt x="225" y="0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43">
              <a:extLst>
                <a:ext uri="{FF2B5EF4-FFF2-40B4-BE49-F238E27FC236}">
                  <a16:creationId xmlns:a16="http://schemas.microsoft.com/office/drawing/2014/main" id="{407BEBF0-3ED1-452A-8961-21326C481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5818188"/>
              <a:ext cx="693737" cy="36513"/>
            </a:xfrm>
            <a:custGeom>
              <a:avLst/>
              <a:gdLst>
                <a:gd name="T0" fmla="*/ 225 w 232"/>
                <a:gd name="T1" fmla="*/ 0 h 12"/>
                <a:gd name="T2" fmla="*/ 7 w 232"/>
                <a:gd name="T3" fmla="*/ 0 h 12"/>
                <a:gd name="T4" fmla="*/ 7 w 232"/>
                <a:gd name="T5" fmla="*/ 12 h 12"/>
                <a:gd name="T6" fmla="*/ 225 w 232"/>
                <a:gd name="T7" fmla="*/ 12 h 12"/>
                <a:gd name="T8" fmla="*/ 225 w 23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2">
                  <a:moveTo>
                    <a:pt x="22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12"/>
                    <a:pt x="7" y="12"/>
                  </a:cubicBezTo>
                  <a:cubicBezTo>
                    <a:pt x="225" y="12"/>
                    <a:pt x="225" y="12"/>
                    <a:pt x="225" y="12"/>
                  </a:cubicBezTo>
                  <a:cubicBezTo>
                    <a:pt x="232" y="12"/>
                    <a:pt x="232" y="0"/>
                    <a:pt x="225" y="0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44">
              <a:extLst>
                <a:ext uri="{FF2B5EF4-FFF2-40B4-BE49-F238E27FC236}">
                  <a16:creationId xmlns:a16="http://schemas.microsoft.com/office/drawing/2014/main" id="{98F99520-2257-4FE0-9CBB-AC37699E5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5943600"/>
              <a:ext cx="693737" cy="39688"/>
            </a:xfrm>
            <a:custGeom>
              <a:avLst/>
              <a:gdLst>
                <a:gd name="T0" fmla="*/ 225 w 232"/>
                <a:gd name="T1" fmla="*/ 0 h 13"/>
                <a:gd name="T2" fmla="*/ 7 w 232"/>
                <a:gd name="T3" fmla="*/ 0 h 13"/>
                <a:gd name="T4" fmla="*/ 7 w 232"/>
                <a:gd name="T5" fmla="*/ 13 h 13"/>
                <a:gd name="T6" fmla="*/ 225 w 232"/>
                <a:gd name="T7" fmla="*/ 13 h 13"/>
                <a:gd name="T8" fmla="*/ 225 w 232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3">
                  <a:moveTo>
                    <a:pt x="22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13"/>
                    <a:pt x="7" y="13"/>
                  </a:cubicBezTo>
                  <a:cubicBezTo>
                    <a:pt x="225" y="13"/>
                    <a:pt x="225" y="13"/>
                    <a:pt x="225" y="13"/>
                  </a:cubicBezTo>
                  <a:cubicBezTo>
                    <a:pt x="232" y="13"/>
                    <a:pt x="232" y="0"/>
                    <a:pt x="225" y="0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45">
              <a:extLst>
                <a:ext uri="{FF2B5EF4-FFF2-40B4-BE49-F238E27FC236}">
                  <a16:creationId xmlns:a16="http://schemas.microsoft.com/office/drawing/2014/main" id="{A37B78E8-3288-40B0-A5EB-BD89418B9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6038850"/>
              <a:ext cx="693737" cy="36513"/>
            </a:xfrm>
            <a:custGeom>
              <a:avLst/>
              <a:gdLst>
                <a:gd name="T0" fmla="*/ 225 w 232"/>
                <a:gd name="T1" fmla="*/ 0 h 12"/>
                <a:gd name="T2" fmla="*/ 7 w 232"/>
                <a:gd name="T3" fmla="*/ 0 h 12"/>
                <a:gd name="T4" fmla="*/ 7 w 232"/>
                <a:gd name="T5" fmla="*/ 12 h 12"/>
                <a:gd name="T6" fmla="*/ 225 w 232"/>
                <a:gd name="T7" fmla="*/ 12 h 12"/>
                <a:gd name="T8" fmla="*/ 225 w 23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12">
                  <a:moveTo>
                    <a:pt x="22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12"/>
                    <a:pt x="7" y="12"/>
                  </a:cubicBezTo>
                  <a:cubicBezTo>
                    <a:pt x="225" y="12"/>
                    <a:pt x="225" y="12"/>
                    <a:pt x="225" y="12"/>
                  </a:cubicBezTo>
                  <a:cubicBezTo>
                    <a:pt x="232" y="12"/>
                    <a:pt x="232" y="0"/>
                    <a:pt x="225" y="0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Oval 146">
              <a:extLst>
                <a:ext uri="{FF2B5EF4-FFF2-40B4-BE49-F238E27FC236}">
                  <a16:creationId xmlns:a16="http://schemas.microsoft.com/office/drawing/2014/main" id="{7E1623D1-FC71-4B7B-8036-17F13E3D73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1975" y="5283200"/>
              <a:ext cx="858837" cy="857250"/>
            </a:xfrm>
            <a:prstGeom prst="ellipse">
              <a:avLst/>
            </a:pr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Oval 147">
              <a:extLst>
                <a:ext uri="{FF2B5EF4-FFF2-40B4-BE49-F238E27FC236}">
                  <a16:creationId xmlns:a16="http://schemas.microsoft.com/office/drawing/2014/main" id="{0DE4D7FD-CA59-4C8A-9266-DB072D74F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0700" y="5276850"/>
              <a:ext cx="858837" cy="858838"/>
            </a:xfrm>
            <a:prstGeom prst="ellipse">
              <a:avLst/>
            </a:prstGeom>
            <a:solidFill>
              <a:srgbClr val="037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48">
              <a:extLst>
                <a:ext uri="{FF2B5EF4-FFF2-40B4-BE49-F238E27FC236}">
                  <a16:creationId xmlns:a16="http://schemas.microsoft.com/office/drawing/2014/main" id="{25D6EF9C-B731-4A9F-95C9-3BB4FA02C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4038" y="6203950"/>
              <a:ext cx="938212" cy="1141413"/>
            </a:xfrm>
            <a:custGeom>
              <a:avLst/>
              <a:gdLst>
                <a:gd name="T0" fmla="*/ 314 w 314"/>
                <a:gd name="T1" fmla="*/ 301 h 382"/>
                <a:gd name="T2" fmla="*/ 311 w 314"/>
                <a:gd name="T3" fmla="*/ 217 h 382"/>
                <a:gd name="T4" fmla="*/ 202 w 314"/>
                <a:gd name="T5" fmla="*/ 0 h 382"/>
                <a:gd name="T6" fmla="*/ 184 w 314"/>
                <a:gd name="T7" fmla="*/ 0 h 382"/>
                <a:gd name="T8" fmla="*/ 129 w 314"/>
                <a:gd name="T9" fmla="*/ 0 h 382"/>
                <a:gd name="T10" fmla="*/ 112 w 314"/>
                <a:gd name="T11" fmla="*/ 0 h 382"/>
                <a:gd name="T12" fmla="*/ 3 w 314"/>
                <a:gd name="T13" fmla="*/ 217 h 382"/>
                <a:gd name="T14" fmla="*/ 0 w 314"/>
                <a:gd name="T15" fmla="*/ 301 h 382"/>
                <a:gd name="T16" fmla="*/ 0 w 314"/>
                <a:gd name="T17" fmla="*/ 302 h 382"/>
                <a:gd name="T18" fmla="*/ 0 w 314"/>
                <a:gd name="T19" fmla="*/ 367 h 382"/>
                <a:gd name="T20" fmla="*/ 13 w 314"/>
                <a:gd name="T21" fmla="*/ 382 h 382"/>
                <a:gd name="T22" fmla="*/ 300 w 314"/>
                <a:gd name="T23" fmla="*/ 382 h 382"/>
                <a:gd name="T24" fmla="*/ 314 w 314"/>
                <a:gd name="T25" fmla="*/ 367 h 382"/>
                <a:gd name="T26" fmla="*/ 314 w 314"/>
                <a:gd name="T27" fmla="*/ 302 h 382"/>
                <a:gd name="T28" fmla="*/ 314 w 314"/>
                <a:gd name="T29" fmla="*/ 30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4" h="382">
                  <a:moveTo>
                    <a:pt x="314" y="301"/>
                  </a:moveTo>
                  <a:cubicBezTo>
                    <a:pt x="314" y="280"/>
                    <a:pt x="313" y="252"/>
                    <a:pt x="311" y="217"/>
                  </a:cubicBezTo>
                  <a:cubicBezTo>
                    <a:pt x="305" y="122"/>
                    <a:pt x="202" y="0"/>
                    <a:pt x="202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0"/>
                    <a:pt x="9" y="122"/>
                    <a:pt x="3" y="217"/>
                  </a:cubicBezTo>
                  <a:cubicBezTo>
                    <a:pt x="0" y="252"/>
                    <a:pt x="0" y="280"/>
                    <a:pt x="0" y="301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0" y="375"/>
                    <a:pt x="6" y="382"/>
                    <a:pt x="13" y="382"/>
                  </a:cubicBezTo>
                  <a:cubicBezTo>
                    <a:pt x="300" y="382"/>
                    <a:pt x="300" y="382"/>
                    <a:pt x="300" y="382"/>
                  </a:cubicBezTo>
                  <a:cubicBezTo>
                    <a:pt x="308" y="382"/>
                    <a:pt x="314" y="375"/>
                    <a:pt x="314" y="367"/>
                  </a:cubicBezTo>
                  <a:cubicBezTo>
                    <a:pt x="314" y="302"/>
                    <a:pt x="314" y="302"/>
                    <a:pt x="314" y="302"/>
                  </a:cubicBezTo>
                  <a:cubicBezTo>
                    <a:pt x="314" y="302"/>
                    <a:pt x="314" y="302"/>
                    <a:pt x="314" y="301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49">
              <a:extLst>
                <a:ext uri="{FF2B5EF4-FFF2-40B4-BE49-F238E27FC236}">
                  <a16:creationId xmlns:a16="http://schemas.microsoft.com/office/drawing/2014/main" id="{A8F12340-DD18-460D-96DE-8A51B2F47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350" y="6203950"/>
              <a:ext cx="942975" cy="1141413"/>
            </a:xfrm>
            <a:custGeom>
              <a:avLst/>
              <a:gdLst>
                <a:gd name="T0" fmla="*/ 314 w 315"/>
                <a:gd name="T1" fmla="*/ 301 h 382"/>
                <a:gd name="T2" fmla="*/ 312 w 315"/>
                <a:gd name="T3" fmla="*/ 217 h 382"/>
                <a:gd name="T4" fmla="*/ 202 w 315"/>
                <a:gd name="T5" fmla="*/ 0 h 382"/>
                <a:gd name="T6" fmla="*/ 185 w 315"/>
                <a:gd name="T7" fmla="*/ 0 h 382"/>
                <a:gd name="T8" fmla="*/ 130 w 315"/>
                <a:gd name="T9" fmla="*/ 0 h 382"/>
                <a:gd name="T10" fmla="*/ 113 w 315"/>
                <a:gd name="T11" fmla="*/ 0 h 382"/>
                <a:gd name="T12" fmla="*/ 3 w 315"/>
                <a:gd name="T13" fmla="*/ 217 h 382"/>
                <a:gd name="T14" fmla="*/ 0 w 315"/>
                <a:gd name="T15" fmla="*/ 301 h 382"/>
                <a:gd name="T16" fmla="*/ 0 w 315"/>
                <a:gd name="T17" fmla="*/ 302 h 382"/>
                <a:gd name="T18" fmla="*/ 0 w 315"/>
                <a:gd name="T19" fmla="*/ 367 h 382"/>
                <a:gd name="T20" fmla="*/ 14 w 315"/>
                <a:gd name="T21" fmla="*/ 382 h 382"/>
                <a:gd name="T22" fmla="*/ 301 w 315"/>
                <a:gd name="T23" fmla="*/ 382 h 382"/>
                <a:gd name="T24" fmla="*/ 315 w 315"/>
                <a:gd name="T25" fmla="*/ 367 h 382"/>
                <a:gd name="T26" fmla="*/ 315 w 315"/>
                <a:gd name="T27" fmla="*/ 302 h 382"/>
                <a:gd name="T28" fmla="*/ 314 w 315"/>
                <a:gd name="T29" fmla="*/ 30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5" h="382">
                  <a:moveTo>
                    <a:pt x="314" y="301"/>
                  </a:moveTo>
                  <a:cubicBezTo>
                    <a:pt x="315" y="280"/>
                    <a:pt x="314" y="252"/>
                    <a:pt x="312" y="217"/>
                  </a:cubicBezTo>
                  <a:cubicBezTo>
                    <a:pt x="305" y="122"/>
                    <a:pt x="202" y="0"/>
                    <a:pt x="20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0"/>
                    <a:pt x="10" y="122"/>
                    <a:pt x="3" y="217"/>
                  </a:cubicBezTo>
                  <a:cubicBezTo>
                    <a:pt x="1" y="252"/>
                    <a:pt x="0" y="280"/>
                    <a:pt x="0" y="301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67"/>
                    <a:pt x="0" y="367"/>
                    <a:pt x="0" y="367"/>
                  </a:cubicBezTo>
                  <a:cubicBezTo>
                    <a:pt x="0" y="375"/>
                    <a:pt x="7" y="382"/>
                    <a:pt x="14" y="382"/>
                  </a:cubicBezTo>
                  <a:cubicBezTo>
                    <a:pt x="301" y="382"/>
                    <a:pt x="301" y="382"/>
                    <a:pt x="301" y="382"/>
                  </a:cubicBezTo>
                  <a:cubicBezTo>
                    <a:pt x="308" y="382"/>
                    <a:pt x="315" y="375"/>
                    <a:pt x="315" y="367"/>
                  </a:cubicBezTo>
                  <a:cubicBezTo>
                    <a:pt x="315" y="302"/>
                    <a:pt x="315" y="302"/>
                    <a:pt x="315" y="302"/>
                  </a:cubicBezTo>
                  <a:cubicBezTo>
                    <a:pt x="315" y="302"/>
                    <a:pt x="314" y="302"/>
                    <a:pt x="314" y="301"/>
                  </a:cubicBezTo>
                  <a:close/>
                </a:path>
              </a:pathLst>
            </a:custGeom>
            <a:solidFill>
              <a:srgbClr val="037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50">
              <a:extLst>
                <a:ext uri="{FF2B5EF4-FFF2-40B4-BE49-F238E27FC236}">
                  <a16:creationId xmlns:a16="http://schemas.microsoft.com/office/drawing/2014/main" id="{5955B771-BCAD-40F3-B89F-548E82E15C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675" y="5340350"/>
              <a:ext cx="873125" cy="866775"/>
            </a:xfrm>
            <a:custGeom>
              <a:avLst/>
              <a:gdLst>
                <a:gd name="T0" fmla="*/ 146 w 292"/>
                <a:gd name="T1" fmla="*/ 290 h 290"/>
                <a:gd name="T2" fmla="*/ 1 w 292"/>
                <a:gd name="T3" fmla="*/ 147 h 290"/>
                <a:gd name="T4" fmla="*/ 145 w 292"/>
                <a:gd name="T5" fmla="*/ 0 h 290"/>
                <a:gd name="T6" fmla="*/ 248 w 292"/>
                <a:gd name="T7" fmla="*/ 41 h 290"/>
                <a:gd name="T8" fmla="*/ 291 w 292"/>
                <a:gd name="T9" fmla="*/ 144 h 290"/>
                <a:gd name="T10" fmla="*/ 148 w 292"/>
                <a:gd name="T11" fmla="*/ 290 h 290"/>
                <a:gd name="T12" fmla="*/ 146 w 292"/>
                <a:gd name="T13" fmla="*/ 290 h 290"/>
                <a:gd name="T14" fmla="*/ 146 w 292"/>
                <a:gd name="T15" fmla="*/ 17 h 290"/>
                <a:gd name="T16" fmla="*/ 145 w 292"/>
                <a:gd name="T17" fmla="*/ 17 h 290"/>
                <a:gd name="T18" fmla="*/ 18 w 292"/>
                <a:gd name="T19" fmla="*/ 147 h 290"/>
                <a:gd name="T20" fmla="*/ 146 w 292"/>
                <a:gd name="T21" fmla="*/ 274 h 290"/>
                <a:gd name="T22" fmla="*/ 148 w 292"/>
                <a:gd name="T23" fmla="*/ 274 h 290"/>
                <a:gd name="T24" fmla="*/ 275 w 292"/>
                <a:gd name="T25" fmla="*/ 144 h 290"/>
                <a:gd name="T26" fmla="*/ 236 w 292"/>
                <a:gd name="T27" fmla="*/ 53 h 290"/>
                <a:gd name="T28" fmla="*/ 146 w 292"/>
                <a:gd name="T29" fmla="*/ 1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2" h="290">
                  <a:moveTo>
                    <a:pt x="146" y="290"/>
                  </a:moveTo>
                  <a:cubicBezTo>
                    <a:pt x="67" y="290"/>
                    <a:pt x="2" y="226"/>
                    <a:pt x="1" y="147"/>
                  </a:cubicBezTo>
                  <a:cubicBezTo>
                    <a:pt x="0" y="67"/>
                    <a:pt x="64" y="1"/>
                    <a:pt x="145" y="0"/>
                  </a:cubicBezTo>
                  <a:cubicBezTo>
                    <a:pt x="183" y="0"/>
                    <a:pt x="220" y="14"/>
                    <a:pt x="248" y="41"/>
                  </a:cubicBezTo>
                  <a:cubicBezTo>
                    <a:pt x="275" y="69"/>
                    <a:pt x="291" y="105"/>
                    <a:pt x="291" y="144"/>
                  </a:cubicBezTo>
                  <a:cubicBezTo>
                    <a:pt x="292" y="224"/>
                    <a:pt x="228" y="290"/>
                    <a:pt x="148" y="290"/>
                  </a:cubicBezTo>
                  <a:cubicBezTo>
                    <a:pt x="147" y="290"/>
                    <a:pt x="147" y="290"/>
                    <a:pt x="146" y="290"/>
                  </a:cubicBezTo>
                  <a:close/>
                  <a:moveTo>
                    <a:pt x="146" y="17"/>
                  </a:moveTo>
                  <a:cubicBezTo>
                    <a:pt x="146" y="17"/>
                    <a:pt x="145" y="17"/>
                    <a:pt x="145" y="17"/>
                  </a:cubicBezTo>
                  <a:cubicBezTo>
                    <a:pt x="74" y="17"/>
                    <a:pt x="17" y="76"/>
                    <a:pt x="18" y="147"/>
                  </a:cubicBezTo>
                  <a:cubicBezTo>
                    <a:pt x="18" y="217"/>
                    <a:pt x="76" y="274"/>
                    <a:pt x="146" y="274"/>
                  </a:cubicBezTo>
                  <a:cubicBezTo>
                    <a:pt x="147" y="274"/>
                    <a:pt x="147" y="274"/>
                    <a:pt x="148" y="274"/>
                  </a:cubicBezTo>
                  <a:cubicBezTo>
                    <a:pt x="219" y="273"/>
                    <a:pt x="276" y="215"/>
                    <a:pt x="275" y="144"/>
                  </a:cubicBezTo>
                  <a:cubicBezTo>
                    <a:pt x="274" y="109"/>
                    <a:pt x="261" y="77"/>
                    <a:pt x="236" y="53"/>
                  </a:cubicBezTo>
                  <a:cubicBezTo>
                    <a:pt x="212" y="30"/>
                    <a:pt x="180" y="17"/>
                    <a:pt x="146" y="17"/>
                  </a:cubicBez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51">
              <a:extLst>
                <a:ext uri="{FF2B5EF4-FFF2-40B4-BE49-F238E27FC236}">
                  <a16:creationId xmlns:a16="http://schemas.microsoft.com/office/drawing/2014/main" id="{0C416F47-D396-4B36-A888-0FD090A1D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775" y="5364163"/>
              <a:ext cx="23812" cy="809625"/>
            </a:xfrm>
            <a:custGeom>
              <a:avLst/>
              <a:gdLst>
                <a:gd name="T0" fmla="*/ 0 w 15"/>
                <a:gd name="T1" fmla="*/ 0 h 510"/>
                <a:gd name="T2" fmla="*/ 9 w 15"/>
                <a:gd name="T3" fmla="*/ 0 h 510"/>
                <a:gd name="T4" fmla="*/ 15 w 15"/>
                <a:gd name="T5" fmla="*/ 510 h 510"/>
                <a:gd name="T6" fmla="*/ 5 w 15"/>
                <a:gd name="T7" fmla="*/ 510 h 510"/>
                <a:gd name="T8" fmla="*/ 0 w 15"/>
                <a:gd name="T9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10">
                  <a:moveTo>
                    <a:pt x="0" y="0"/>
                  </a:moveTo>
                  <a:lnTo>
                    <a:pt x="9" y="0"/>
                  </a:lnTo>
                  <a:lnTo>
                    <a:pt x="15" y="510"/>
                  </a:lnTo>
                  <a:lnTo>
                    <a:pt x="5" y="5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52">
              <a:extLst>
                <a:ext uri="{FF2B5EF4-FFF2-40B4-BE49-F238E27FC236}">
                  <a16:creationId xmlns:a16="http://schemas.microsoft.com/office/drawing/2014/main" id="{27C1F726-638B-4972-B81D-C622E7BBE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3" y="5570538"/>
              <a:ext cx="374650" cy="230188"/>
            </a:xfrm>
            <a:custGeom>
              <a:avLst/>
              <a:gdLst>
                <a:gd name="T0" fmla="*/ 232 w 236"/>
                <a:gd name="T1" fmla="*/ 0 h 145"/>
                <a:gd name="T2" fmla="*/ 236 w 236"/>
                <a:gd name="T3" fmla="*/ 7 h 145"/>
                <a:gd name="T4" fmla="*/ 6 w 236"/>
                <a:gd name="T5" fmla="*/ 145 h 145"/>
                <a:gd name="T6" fmla="*/ 0 w 236"/>
                <a:gd name="T7" fmla="*/ 137 h 145"/>
                <a:gd name="T8" fmla="*/ 232 w 236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6" h="145">
                  <a:moveTo>
                    <a:pt x="232" y="0"/>
                  </a:moveTo>
                  <a:lnTo>
                    <a:pt x="236" y="7"/>
                  </a:lnTo>
                  <a:lnTo>
                    <a:pt x="6" y="145"/>
                  </a:lnTo>
                  <a:lnTo>
                    <a:pt x="0" y="137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53">
              <a:extLst>
                <a:ext uri="{FF2B5EF4-FFF2-40B4-BE49-F238E27FC236}">
                  <a16:creationId xmlns:a16="http://schemas.microsoft.com/office/drawing/2014/main" id="{D97BF4EE-168A-4208-A5B5-9CCE23090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683250"/>
              <a:ext cx="87312" cy="63500"/>
            </a:xfrm>
            <a:custGeom>
              <a:avLst/>
              <a:gdLst>
                <a:gd name="T0" fmla="*/ 55 w 55"/>
                <a:gd name="T1" fmla="*/ 34 h 40"/>
                <a:gd name="T2" fmla="*/ 51 w 55"/>
                <a:gd name="T3" fmla="*/ 40 h 40"/>
                <a:gd name="T4" fmla="*/ 0 w 55"/>
                <a:gd name="T5" fmla="*/ 6 h 40"/>
                <a:gd name="T6" fmla="*/ 4 w 55"/>
                <a:gd name="T7" fmla="*/ 0 h 40"/>
                <a:gd name="T8" fmla="*/ 55 w 55"/>
                <a:gd name="T9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40">
                  <a:moveTo>
                    <a:pt x="55" y="34"/>
                  </a:moveTo>
                  <a:lnTo>
                    <a:pt x="51" y="40"/>
                  </a:lnTo>
                  <a:lnTo>
                    <a:pt x="0" y="6"/>
                  </a:lnTo>
                  <a:lnTo>
                    <a:pt x="4" y="0"/>
                  </a:lnTo>
                  <a:lnTo>
                    <a:pt x="55" y="34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54">
              <a:extLst>
                <a:ext uri="{FF2B5EF4-FFF2-40B4-BE49-F238E27FC236}">
                  <a16:creationId xmlns:a16="http://schemas.microsoft.com/office/drawing/2014/main" id="{25FF31E7-B46C-428F-8F6B-D4878528A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605463"/>
              <a:ext cx="149225" cy="107950"/>
            </a:xfrm>
            <a:custGeom>
              <a:avLst/>
              <a:gdLst>
                <a:gd name="T0" fmla="*/ 94 w 94"/>
                <a:gd name="T1" fmla="*/ 62 h 68"/>
                <a:gd name="T2" fmla="*/ 91 w 94"/>
                <a:gd name="T3" fmla="*/ 68 h 68"/>
                <a:gd name="T4" fmla="*/ 0 w 94"/>
                <a:gd name="T5" fmla="*/ 6 h 68"/>
                <a:gd name="T6" fmla="*/ 4 w 94"/>
                <a:gd name="T7" fmla="*/ 0 h 68"/>
                <a:gd name="T8" fmla="*/ 94 w 94"/>
                <a:gd name="T9" fmla="*/ 6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68">
                  <a:moveTo>
                    <a:pt x="94" y="62"/>
                  </a:moveTo>
                  <a:lnTo>
                    <a:pt x="91" y="68"/>
                  </a:lnTo>
                  <a:lnTo>
                    <a:pt x="0" y="6"/>
                  </a:lnTo>
                  <a:lnTo>
                    <a:pt x="4" y="0"/>
                  </a:lnTo>
                  <a:lnTo>
                    <a:pt x="94" y="62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55">
              <a:extLst>
                <a:ext uri="{FF2B5EF4-FFF2-40B4-BE49-F238E27FC236}">
                  <a16:creationId xmlns:a16="http://schemas.microsoft.com/office/drawing/2014/main" id="{41E595E2-C92D-48F1-8A0B-D4F7F0B4B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526088"/>
              <a:ext cx="212725" cy="152400"/>
            </a:xfrm>
            <a:custGeom>
              <a:avLst/>
              <a:gdLst>
                <a:gd name="T0" fmla="*/ 134 w 134"/>
                <a:gd name="T1" fmla="*/ 90 h 96"/>
                <a:gd name="T2" fmla="*/ 128 w 134"/>
                <a:gd name="T3" fmla="*/ 96 h 96"/>
                <a:gd name="T4" fmla="*/ 0 w 134"/>
                <a:gd name="T5" fmla="*/ 5 h 96"/>
                <a:gd name="T6" fmla="*/ 4 w 134"/>
                <a:gd name="T7" fmla="*/ 0 h 96"/>
                <a:gd name="T8" fmla="*/ 134 w 134"/>
                <a:gd name="T9" fmla="*/ 9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96">
                  <a:moveTo>
                    <a:pt x="134" y="90"/>
                  </a:moveTo>
                  <a:lnTo>
                    <a:pt x="128" y="96"/>
                  </a:lnTo>
                  <a:lnTo>
                    <a:pt x="0" y="5"/>
                  </a:lnTo>
                  <a:lnTo>
                    <a:pt x="4" y="0"/>
                  </a:lnTo>
                  <a:lnTo>
                    <a:pt x="134" y="90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56">
              <a:extLst>
                <a:ext uri="{FF2B5EF4-FFF2-40B4-BE49-F238E27FC236}">
                  <a16:creationId xmlns:a16="http://schemas.microsoft.com/office/drawing/2014/main" id="{D861A96A-0CE6-435F-A167-BCD8D6F1B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538" y="5445125"/>
              <a:ext cx="276225" cy="196850"/>
            </a:xfrm>
            <a:custGeom>
              <a:avLst/>
              <a:gdLst>
                <a:gd name="T0" fmla="*/ 174 w 174"/>
                <a:gd name="T1" fmla="*/ 118 h 124"/>
                <a:gd name="T2" fmla="*/ 170 w 174"/>
                <a:gd name="T3" fmla="*/ 124 h 124"/>
                <a:gd name="T4" fmla="*/ 0 w 174"/>
                <a:gd name="T5" fmla="*/ 5 h 124"/>
                <a:gd name="T6" fmla="*/ 4 w 174"/>
                <a:gd name="T7" fmla="*/ 0 h 124"/>
                <a:gd name="T8" fmla="*/ 174 w 174"/>
                <a:gd name="T9" fmla="*/ 1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4" h="124">
                  <a:moveTo>
                    <a:pt x="174" y="118"/>
                  </a:moveTo>
                  <a:lnTo>
                    <a:pt x="170" y="124"/>
                  </a:lnTo>
                  <a:lnTo>
                    <a:pt x="0" y="5"/>
                  </a:lnTo>
                  <a:lnTo>
                    <a:pt x="4" y="0"/>
                  </a:lnTo>
                  <a:lnTo>
                    <a:pt x="174" y="118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57">
              <a:extLst>
                <a:ext uri="{FF2B5EF4-FFF2-40B4-BE49-F238E27FC236}">
                  <a16:creationId xmlns:a16="http://schemas.microsoft.com/office/drawing/2014/main" id="{9D3F21E3-C3D9-4AD8-9B33-362CE5D76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370513"/>
              <a:ext cx="331787" cy="231775"/>
            </a:xfrm>
            <a:custGeom>
              <a:avLst/>
              <a:gdLst>
                <a:gd name="T0" fmla="*/ 209 w 209"/>
                <a:gd name="T1" fmla="*/ 141 h 146"/>
                <a:gd name="T2" fmla="*/ 206 w 209"/>
                <a:gd name="T3" fmla="*/ 146 h 146"/>
                <a:gd name="T4" fmla="*/ 0 w 209"/>
                <a:gd name="T5" fmla="*/ 5 h 146"/>
                <a:gd name="T6" fmla="*/ 4 w 209"/>
                <a:gd name="T7" fmla="*/ 0 h 146"/>
                <a:gd name="T8" fmla="*/ 209 w 209"/>
                <a:gd name="T9" fmla="*/ 14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146">
                  <a:moveTo>
                    <a:pt x="209" y="141"/>
                  </a:moveTo>
                  <a:lnTo>
                    <a:pt x="206" y="146"/>
                  </a:lnTo>
                  <a:lnTo>
                    <a:pt x="0" y="5"/>
                  </a:lnTo>
                  <a:lnTo>
                    <a:pt x="4" y="0"/>
                  </a:lnTo>
                  <a:lnTo>
                    <a:pt x="209" y="141"/>
                  </a:lnTo>
                  <a:close/>
                </a:path>
              </a:pathLst>
            </a:custGeom>
            <a:solidFill>
              <a:srgbClr val="433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58">
              <a:extLst>
                <a:ext uri="{FF2B5EF4-FFF2-40B4-BE49-F238E27FC236}">
                  <a16:creationId xmlns:a16="http://schemas.microsoft.com/office/drawing/2014/main" id="{2A95F40F-9B27-4322-9BF6-751588746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750" y="5878513"/>
              <a:ext cx="760412" cy="644525"/>
            </a:xfrm>
            <a:custGeom>
              <a:avLst/>
              <a:gdLst>
                <a:gd name="T0" fmla="*/ 468 w 479"/>
                <a:gd name="T1" fmla="*/ 406 h 406"/>
                <a:gd name="T2" fmla="*/ 479 w 479"/>
                <a:gd name="T3" fmla="*/ 393 h 406"/>
                <a:gd name="T4" fmla="*/ 12 w 479"/>
                <a:gd name="T5" fmla="*/ 0 h 406"/>
                <a:gd name="T6" fmla="*/ 0 w 479"/>
                <a:gd name="T7" fmla="*/ 13 h 406"/>
                <a:gd name="T8" fmla="*/ 468 w 479"/>
                <a:gd name="T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9" h="406">
                  <a:moveTo>
                    <a:pt x="468" y="406"/>
                  </a:moveTo>
                  <a:lnTo>
                    <a:pt x="479" y="393"/>
                  </a:lnTo>
                  <a:lnTo>
                    <a:pt x="12" y="0"/>
                  </a:lnTo>
                  <a:lnTo>
                    <a:pt x="0" y="13"/>
                  </a:lnTo>
                  <a:lnTo>
                    <a:pt x="468" y="406"/>
                  </a:lnTo>
                  <a:close/>
                </a:path>
              </a:pathLst>
            </a:custGeom>
            <a:solidFill>
              <a:srgbClr val="B65B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59">
              <a:extLst>
                <a:ext uri="{FF2B5EF4-FFF2-40B4-BE49-F238E27FC236}">
                  <a16:creationId xmlns:a16="http://schemas.microsoft.com/office/drawing/2014/main" id="{6E9C4537-7C64-4CE2-810D-546A4ADAD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3" y="5872163"/>
              <a:ext cx="777875" cy="660400"/>
            </a:xfrm>
            <a:custGeom>
              <a:avLst/>
              <a:gdLst>
                <a:gd name="T0" fmla="*/ 473 w 490"/>
                <a:gd name="T1" fmla="*/ 416 h 416"/>
                <a:gd name="T2" fmla="*/ 0 w 490"/>
                <a:gd name="T3" fmla="*/ 19 h 416"/>
                <a:gd name="T4" fmla="*/ 15 w 490"/>
                <a:gd name="T5" fmla="*/ 0 h 416"/>
                <a:gd name="T6" fmla="*/ 19 w 490"/>
                <a:gd name="T7" fmla="*/ 2 h 416"/>
                <a:gd name="T8" fmla="*/ 490 w 490"/>
                <a:gd name="T9" fmla="*/ 397 h 416"/>
                <a:gd name="T10" fmla="*/ 473 w 490"/>
                <a:gd name="T11" fmla="*/ 416 h 416"/>
                <a:gd name="T12" fmla="*/ 9 w 490"/>
                <a:gd name="T13" fmla="*/ 17 h 416"/>
                <a:gd name="T14" fmla="*/ 473 w 490"/>
                <a:gd name="T15" fmla="*/ 405 h 416"/>
                <a:gd name="T16" fmla="*/ 478 w 490"/>
                <a:gd name="T17" fmla="*/ 397 h 416"/>
                <a:gd name="T18" fmla="*/ 17 w 490"/>
                <a:gd name="T19" fmla="*/ 9 h 416"/>
                <a:gd name="T20" fmla="*/ 9 w 490"/>
                <a:gd name="T21" fmla="*/ 1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0" h="416">
                  <a:moveTo>
                    <a:pt x="473" y="416"/>
                  </a:moveTo>
                  <a:lnTo>
                    <a:pt x="0" y="19"/>
                  </a:lnTo>
                  <a:lnTo>
                    <a:pt x="15" y="0"/>
                  </a:lnTo>
                  <a:lnTo>
                    <a:pt x="19" y="2"/>
                  </a:lnTo>
                  <a:lnTo>
                    <a:pt x="490" y="397"/>
                  </a:lnTo>
                  <a:lnTo>
                    <a:pt x="473" y="416"/>
                  </a:lnTo>
                  <a:close/>
                  <a:moveTo>
                    <a:pt x="9" y="17"/>
                  </a:moveTo>
                  <a:lnTo>
                    <a:pt x="473" y="405"/>
                  </a:lnTo>
                  <a:lnTo>
                    <a:pt x="478" y="397"/>
                  </a:lnTo>
                  <a:lnTo>
                    <a:pt x="17" y="9"/>
                  </a:lnTo>
                  <a:lnTo>
                    <a:pt x="9" y="17"/>
                  </a:lnTo>
                  <a:close/>
                </a:path>
              </a:pathLst>
            </a:custGeom>
            <a:solidFill>
              <a:srgbClr val="B65B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60">
              <a:extLst>
                <a:ext uri="{FF2B5EF4-FFF2-40B4-BE49-F238E27FC236}">
                  <a16:creationId xmlns:a16="http://schemas.microsoft.com/office/drawing/2014/main" id="{27BD6F90-1474-47FC-8A19-519EFF56D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3675" y="6251575"/>
              <a:ext cx="682625" cy="619125"/>
            </a:xfrm>
            <a:custGeom>
              <a:avLst/>
              <a:gdLst>
                <a:gd name="T0" fmla="*/ 216 w 228"/>
                <a:gd name="T1" fmla="*/ 179 h 207"/>
                <a:gd name="T2" fmla="*/ 205 w 228"/>
                <a:gd name="T3" fmla="*/ 191 h 207"/>
                <a:gd name="T4" fmla="*/ 158 w 228"/>
                <a:gd name="T5" fmla="*/ 195 h 207"/>
                <a:gd name="T6" fmla="*/ 16 w 228"/>
                <a:gd name="T7" fmla="*/ 76 h 207"/>
                <a:gd name="T8" fmla="*/ 12 w 228"/>
                <a:gd name="T9" fmla="*/ 29 h 207"/>
                <a:gd name="T10" fmla="*/ 22 w 228"/>
                <a:gd name="T11" fmla="*/ 16 h 207"/>
                <a:gd name="T12" fmla="*/ 69 w 228"/>
                <a:gd name="T13" fmla="*/ 12 h 207"/>
                <a:gd name="T14" fmla="*/ 212 w 228"/>
                <a:gd name="T15" fmla="*/ 132 h 207"/>
                <a:gd name="T16" fmla="*/ 216 w 228"/>
                <a:gd name="T17" fmla="*/ 17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207">
                  <a:moveTo>
                    <a:pt x="216" y="179"/>
                  </a:moveTo>
                  <a:cubicBezTo>
                    <a:pt x="205" y="191"/>
                    <a:pt x="205" y="191"/>
                    <a:pt x="205" y="191"/>
                  </a:cubicBezTo>
                  <a:cubicBezTo>
                    <a:pt x="193" y="205"/>
                    <a:pt x="172" y="207"/>
                    <a:pt x="158" y="195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2" y="64"/>
                    <a:pt x="0" y="43"/>
                    <a:pt x="12" y="29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4" y="2"/>
                    <a:pt x="55" y="0"/>
                    <a:pt x="69" y="12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26" y="143"/>
                    <a:pt x="228" y="165"/>
                    <a:pt x="216" y="179"/>
                  </a:cubicBezTo>
                  <a:close/>
                </a:path>
              </a:pathLst>
            </a:custGeom>
            <a:solidFill>
              <a:srgbClr val="037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5" name="Line 5">
            <a:extLst>
              <a:ext uri="{FF2B5EF4-FFF2-40B4-BE49-F238E27FC236}">
                <a16:creationId xmlns:a16="http://schemas.microsoft.com/office/drawing/2014/main" id="{4A36F11D-EA18-4F90-97F0-012C8EB927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3842" y="6063888"/>
            <a:ext cx="5324317" cy="0"/>
          </a:xfrm>
          <a:prstGeom prst="line">
            <a:avLst/>
          </a:prstGeom>
          <a:noFill/>
          <a:ln w="23813" cap="rnd">
            <a:solidFill>
              <a:srgbClr val="EF781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8E1246-5D34-429F-BB50-AA364C62F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7E3FB8-0FCA-4859-887F-6071C85651C0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CC073C-F9BA-4CFB-A5C7-BCF9BAA10178}"/>
              </a:ext>
            </a:extLst>
          </p:cNvPr>
          <p:cNvSpPr txBox="1"/>
          <p:nvPr/>
        </p:nvSpPr>
        <p:spPr>
          <a:xfrm>
            <a:off x="265471" y="3956880"/>
            <a:ext cx="339193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laksan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bagi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us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ji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layan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sa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aksanaan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bagian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usan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m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dang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duk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l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dan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lphaLcPeriod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mbangun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rpr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lurah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&amp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mberday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s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di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lurahan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4842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86968-1C75-46B2-856B-17DB582B3EE0}" type="datetime1">
              <a:rPr lang="en-US" smtClean="0"/>
              <a:t>7/24/2024</a:t>
            </a:fld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53A8B8-0320-463C-9CFC-F3F813B668DA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541" y="1634459"/>
            <a:ext cx="11365039" cy="308004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33400" y="351871"/>
            <a:ext cx="10676906" cy="875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  <a:tabLst>
                <a:tab pos="457200" algn="l"/>
              </a:tabLst>
            </a:pPr>
            <a:r>
              <a:rPr lang="en-US" dirty="0">
                <a:latin typeface="Bookman Old Style" panose="02050604050505020204" pitchFamily="18" charset="0"/>
                <a:ea typeface="Times New Roman" panose="02020603050405020304" pitchFamily="18" charset="0"/>
              </a:rPr>
              <a:t>RINCIAN SEBAGIAN KEWENANGAN BUPATI/WALI KOTA YANG DAPAT</a:t>
            </a:r>
            <a:r>
              <a:rPr lang="en-US" dirty="0">
                <a:latin typeface="Bookman Old Style" panose="02050604050505020204" pitchFamily="18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Bookman Old Style" panose="02050604050505020204" pitchFamily="18" charset="0"/>
                <a:ea typeface="Times New Roman" panose="02020603050405020304" pitchFamily="18" charset="0"/>
              </a:rPr>
              <a:t>DILIMPAHKAN KEPADA CAMAT   </a:t>
            </a:r>
            <a:endParaRPr lang="en-ID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890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6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ontrol xmlns="http://schemas.microsoft.com/VisualStudio/2011/storyboarding/control">
  <Id Name="7417d93c-db74-4fac-a43d-3a04672e6b7e" Revision="1" Stencil="45fc28be-1ac8-4bfe-b037-c8ed5b041cec" StencilVersion="1.0"/>
</Control>
</file>

<file path=customXml/item2.xml><?xml version="1.0" encoding="utf-8"?>
<Control xmlns="http://schemas.microsoft.com/VisualStudio/2011/storyboarding/control">
  <Id Name="7417d93c-db74-4fac-a43d-3a04672e6b7e" Revision="1" Stencil="45fc28be-1ac8-4bfe-b037-c8ed5b041cec" StencilVersion="1.0"/>
</Control>
</file>

<file path=customXml/itemProps1.xml><?xml version="1.0" encoding="utf-8"?>
<ds:datastoreItem xmlns:ds="http://schemas.openxmlformats.org/officeDocument/2006/customXml" ds:itemID="{74C9D2BE-A9AE-4946-9B7B-140CF4393FB6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FE19FB1C-8218-4F2E-84E8-B2097C6B8FC5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35</TotalTime>
  <Words>1347</Words>
  <Application>Microsoft Office PowerPoint</Application>
  <PresentationFormat>Widescreen</PresentationFormat>
  <Paragraphs>216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0" baseType="lpstr">
      <vt:lpstr>Arial</vt:lpstr>
      <vt:lpstr>Arial Black</vt:lpstr>
      <vt:lpstr>Bookman Old Style</vt:lpstr>
      <vt:lpstr>Calibri</vt:lpstr>
      <vt:lpstr>Calibri Light</vt:lpstr>
      <vt:lpstr>Century</vt:lpstr>
      <vt:lpstr>Century Gothic</vt:lpstr>
      <vt:lpstr>Josefin Sans</vt:lpstr>
      <vt:lpstr>Segoe UI</vt:lpstr>
      <vt:lpstr>Staatliches</vt:lpstr>
      <vt:lpstr>Times New Roman</vt:lpstr>
      <vt:lpstr>Webdings</vt:lpstr>
      <vt:lpstr>Wingdings</vt:lpstr>
      <vt:lpstr>Office Theme</vt:lpstr>
      <vt:lpstr>1_Office Theme</vt:lpstr>
      <vt:lpstr>2_Office Theme</vt:lpstr>
      <vt:lpstr>1_Tema de Office</vt:lpstr>
      <vt:lpstr>3_Office Theme</vt:lpstr>
      <vt:lpstr>think-cell Slide</vt:lpstr>
      <vt:lpstr>PowerPoint Presentation</vt:lpstr>
      <vt:lpstr>PowerPoint Presentation</vt:lpstr>
      <vt:lpstr>PowerPoint Presentation</vt:lpstr>
      <vt:lpstr>URUSAN YANG DAPAT DILIMPAHKAN…</vt:lpstr>
      <vt:lpstr>PowerPoint Presentation</vt:lpstr>
      <vt:lpstr>PowerPoint Presentation</vt:lpstr>
      <vt:lpstr>Tata Cara Pelimpahan Kewenangan kpd Cama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RUMUSAN DAN PENETAPAN</vt:lpstr>
      <vt:lpstr>PELAKSANAAN PELIMPAHAN</vt:lpstr>
      <vt:lpstr>MONITORING DAN EVALUASI</vt:lpstr>
      <vt:lpstr>PEMBINAAN DAN PENGAWASA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RUM PROCESS</dc:title>
  <dc:creator>RARE</dc:creator>
  <cp:lastModifiedBy>Lenovo</cp:lastModifiedBy>
  <cp:revision>211</cp:revision>
  <dcterms:created xsi:type="dcterms:W3CDTF">2019-04-01T07:53:49Z</dcterms:created>
  <dcterms:modified xsi:type="dcterms:W3CDTF">2024-07-23T23:47:28Z</dcterms:modified>
</cp:coreProperties>
</file>